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98" r:id="rId5"/>
  </p:sldMasterIdLst>
  <p:notesMasterIdLst>
    <p:notesMasterId r:id="rId41"/>
  </p:notesMasterIdLst>
  <p:handoutMasterIdLst>
    <p:handoutMasterId r:id="rId42"/>
  </p:handoutMasterIdLst>
  <p:sldIdLst>
    <p:sldId id="296" r:id="rId6"/>
    <p:sldId id="424" r:id="rId7"/>
    <p:sldId id="438" r:id="rId8"/>
    <p:sldId id="521" r:id="rId9"/>
    <p:sldId id="439" r:id="rId10"/>
    <p:sldId id="481" r:id="rId11"/>
    <p:sldId id="483" r:id="rId12"/>
    <p:sldId id="482" r:id="rId13"/>
    <p:sldId id="488" r:id="rId14"/>
    <p:sldId id="456" r:id="rId15"/>
    <p:sldId id="469" r:id="rId16"/>
    <p:sldId id="522" r:id="rId17"/>
    <p:sldId id="523" r:id="rId18"/>
    <p:sldId id="457" r:id="rId19"/>
    <p:sldId id="514" r:id="rId20"/>
    <p:sldId id="524" r:id="rId21"/>
    <p:sldId id="470" r:id="rId22"/>
    <p:sldId id="500" r:id="rId23"/>
    <p:sldId id="513" r:id="rId24"/>
    <p:sldId id="525" r:id="rId25"/>
    <p:sldId id="473" r:id="rId26"/>
    <p:sldId id="515" r:id="rId27"/>
    <p:sldId id="526" r:id="rId28"/>
    <p:sldId id="489" r:id="rId29"/>
    <p:sldId id="516" r:id="rId30"/>
    <p:sldId id="520" r:id="rId31"/>
    <p:sldId id="461" r:id="rId32"/>
    <p:sldId id="517" r:id="rId33"/>
    <p:sldId id="475" r:id="rId34"/>
    <p:sldId id="527" r:id="rId35"/>
    <p:sldId id="476" r:id="rId36"/>
    <p:sldId id="518" r:id="rId37"/>
    <p:sldId id="480" r:id="rId38"/>
    <p:sldId id="466" r:id="rId39"/>
    <p:sldId id="528" r:id="rId40"/>
  </p:sldIdLst>
  <p:sldSz cx="9144000" cy="6858000" type="screen4x3"/>
  <p:notesSz cx="6797675" cy="9926638"/>
  <p:custDataLst>
    <p:tags r:id="rId43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7D7D"/>
    <a:srgbClr val="E41B09"/>
    <a:srgbClr val="F78909"/>
    <a:srgbClr val="FCCBCE"/>
    <a:srgbClr val="E4523B"/>
    <a:srgbClr val="FAA879"/>
    <a:srgbClr val="481B04"/>
    <a:srgbClr val="4A280C"/>
    <a:srgbClr val="F75A22"/>
    <a:srgbClr val="8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D9E4E4C-3634-4899-BF37-E908388F521B}" v="364" dt="2019-11-16T14:39:53.0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348" autoAdjust="0"/>
    <p:restoredTop sz="99600" autoAdjust="0"/>
  </p:normalViewPr>
  <p:slideViewPr>
    <p:cSldViewPr snapToGrid="0">
      <p:cViewPr varScale="1">
        <p:scale>
          <a:sx n="85" d="100"/>
          <a:sy n="85" d="100"/>
        </p:scale>
        <p:origin x="1056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1" d="100"/>
          <a:sy n="61" d="100"/>
        </p:scale>
        <p:origin x="-3274" y="-101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gs" Target="tags/tag1.xml"/><Relationship Id="rId48" Type="http://schemas.microsoft.com/office/2016/11/relationships/changesInfo" Target="changesInfos/changesInfo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hilippe CERISIER" userId="243b6f8e-f1ab-49a6-91db-d0e885322b27" providerId="ADAL" clId="{C3C2C689-5F8C-44B0-9174-CA8AA3D5CB1B}"/>
    <pc:docChg chg="delSld modSld">
      <pc:chgData name="Philippe CERISIER" userId="243b6f8e-f1ab-49a6-91db-d0e885322b27" providerId="ADAL" clId="{C3C2C689-5F8C-44B0-9174-CA8AA3D5CB1B}" dt="2019-11-17T12:58:06.175" v="34" actId="2696"/>
      <pc:docMkLst>
        <pc:docMk/>
      </pc:docMkLst>
      <pc:sldChg chg="modSp">
        <pc:chgData name="Philippe CERISIER" userId="243b6f8e-f1ab-49a6-91db-d0e885322b27" providerId="ADAL" clId="{C3C2C689-5F8C-44B0-9174-CA8AA3D5CB1B}" dt="2019-11-16T17:26:56.978" v="33" actId="12"/>
        <pc:sldMkLst>
          <pc:docMk/>
          <pc:sldMk cId="0" sldId="489"/>
        </pc:sldMkLst>
        <pc:spChg chg="mod">
          <ac:chgData name="Philippe CERISIER" userId="243b6f8e-f1ab-49a6-91db-d0e885322b27" providerId="ADAL" clId="{C3C2C689-5F8C-44B0-9174-CA8AA3D5CB1B}" dt="2019-11-16T17:26:56.978" v="33" actId="12"/>
          <ac:spMkLst>
            <pc:docMk/>
            <pc:sldMk cId="0" sldId="489"/>
            <ac:spMk id="8" creationId="{4E2B9992-572A-43CD-A8D5-BFECCADDE6D6}"/>
          </ac:spMkLst>
        </pc:spChg>
      </pc:sldChg>
      <pc:sldChg chg="del">
        <pc:chgData name="Philippe CERISIER" userId="243b6f8e-f1ab-49a6-91db-d0e885322b27" providerId="ADAL" clId="{C3C2C689-5F8C-44B0-9174-CA8AA3D5CB1B}" dt="2019-11-17T12:58:06.175" v="34" actId="2696"/>
        <pc:sldMkLst>
          <pc:docMk/>
          <pc:sldMk cId="0" sldId="504"/>
        </pc:sldMkLst>
      </pc:sldChg>
      <pc:sldChg chg="modSp">
        <pc:chgData name="Philippe CERISIER" userId="243b6f8e-f1ab-49a6-91db-d0e885322b27" providerId="ADAL" clId="{C3C2C689-5F8C-44B0-9174-CA8AA3D5CB1B}" dt="2019-11-16T16:43:56.207" v="11" actId="20577"/>
        <pc:sldMkLst>
          <pc:docMk/>
          <pc:sldMk cId="3961373243" sldId="522"/>
        </pc:sldMkLst>
        <pc:spChg chg="mod">
          <ac:chgData name="Philippe CERISIER" userId="243b6f8e-f1ab-49a6-91db-d0e885322b27" providerId="ADAL" clId="{C3C2C689-5F8C-44B0-9174-CA8AA3D5CB1B}" dt="2019-11-16T16:43:56.207" v="11" actId="20577"/>
          <ac:spMkLst>
            <pc:docMk/>
            <pc:sldMk cId="3961373243" sldId="522"/>
            <ac:spMk id="10" creationId="{667CB071-AC5E-4C39-A875-AF3F5A8C43C3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../embeddings/oleObject4.bin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Evolution des Adhéren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13868407279127037"/>
          <c:y val="0.17754153512433096"/>
          <c:w val="0.83483348381755895"/>
          <c:h val="0.6575206231424007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Badmint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1!$A$2:$A$7</c:f>
              <c:strCache>
                <c:ptCount val="6"/>
                <c:pt idx="0">
                  <c:v>2013-2014</c:v>
                </c:pt>
                <c:pt idx="1">
                  <c:v>2014-2015</c:v>
                </c:pt>
                <c:pt idx="2">
                  <c:v>2015-2016</c:v>
                </c:pt>
                <c:pt idx="3">
                  <c:v>2016-2017</c:v>
                </c:pt>
                <c:pt idx="4">
                  <c:v>2017-2018</c:v>
                </c:pt>
                <c:pt idx="5">
                  <c:v>2018-2019</c:v>
                </c:pt>
              </c:strCache>
            </c:strRef>
          </c:cat>
          <c:val>
            <c:numRef>
              <c:f>Feuil1!$B$2:$B$7</c:f>
              <c:numCache>
                <c:formatCode>General</c:formatCode>
                <c:ptCount val="6"/>
                <c:pt idx="0">
                  <c:v>211</c:v>
                </c:pt>
                <c:pt idx="1">
                  <c:v>164</c:v>
                </c:pt>
                <c:pt idx="2">
                  <c:v>204</c:v>
                </c:pt>
                <c:pt idx="3">
                  <c:v>252</c:v>
                </c:pt>
                <c:pt idx="4">
                  <c:v>217</c:v>
                </c:pt>
                <c:pt idx="5">
                  <c:v>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CE-4AD1-A66A-F0FCE27B378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1!$A$2:$A$7</c:f>
              <c:strCache>
                <c:ptCount val="6"/>
                <c:pt idx="0">
                  <c:v>2013-2014</c:v>
                </c:pt>
                <c:pt idx="1">
                  <c:v>2014-2015</c:v>
                </c:pt>
                <c:pt idx="2">
                  <c:v>2015-2016</c:v>
                </c:pt>
                <c:pt idx="3">
                  <c:v>2016-2017</c:v>
                </c:pt>
                <c:pt idx="4">
                  <c:v>2017-2018</c:v>
                </c:pt>
                <c:pt idx="5">
                  <c:v>2018-2019</c:v>
                </c:pt>
              </c:strCache>
            </c:strRef>
          </c:cat>
          <c:val>
            <c:numRef>
              <c:f>Feuil1!$C$2:$C$7</c:f>
              <c:numCache>
                <c:formatCode>General</c:formatCode>
                <c:ptCount val="6"/>
                <c:pt idx="0">
                  <c:v>87</c:v>
                </c:pt>
                <c:pt idx="1">
                  <c:v>76</c:v>
                </c:pt>
                <c:pt idx="2">
                  <c:v>52</c:v>
                </c:pt>
                <c:pt idx="3">
                  <c:v>47</c:v>
                </c:pt>
                <c:pt idx="4">
                  <c:v>80</c:v>
                </c:pt>
                <c:pt idx="5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CE-4AD1-A66A-F0FCE27B3782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Trampolin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1!$A$2:$A$7</c:f>
              <c:strCache>
                <c:ptCount val="6"/>
                <c:pt idx="0">
                  <c:v>2013-2014</c:v>
                </c:pt>
                <c:pt idx="1">
                  <c:v>2014-2015</c:v>
                </c:pt>
                <c:pt idx="2">
                  <c:v>2015-2016</c:v>
                </c:pt>
                <c:pt idx="3">
                  <c:v>2016-2017</c:v>
                </c:pt>
                <c:pt idx="4">
                  <c:v>2017-2018</c:v>
                </c:pt>
                <c:pt idx="5">
                  <c:v>2018-2019</c:v>
                </c:pt>
              </c:strCache>
            </c:strRef>
          </c:cat>
          <c:val>
            <c:numRef>
              <c:f>Feuil1!$D$2:$D$7</c:f>
              <c:numCache>
                <c:formatCode>General</c:formatCode>
                <c:ptCount val="6"/>
                <c:pt idx="0">
                  <c:v>20</c:v>
                </c:pt>
                <c:pt idx="1">
                  <c:v>14</c:v>
                </c:pt>
                <c:pt idx="2">
                  <c:v>19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CE-4AD1-A66A-F0FCE27B378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316200416"/>
        <c:axId val="316201248"/>
      </c:barChart>
      <c:catAx>
        <c:axId val="3162004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16201248"/>
        <c:crosses val="autoZero"/>
        <c:auto val="1"/>
        <c:lblAlgn val="ctr"/>
        <c:lblOffset val="100"/>
        <c:noMultiLvlLbl val="0"/>
      </c:catAx>
      <c:valAx>
        <c:axId val="31620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16200416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ituation comptable   SH 18 19.xls.xlsx]Feuil4'!$D$2</c:f>
              <c:strCache>
                <c:ptCount val="1"/>
                <c:pt idx="0">
                  <c:v>Budget 2018-2019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cat>
            <c:strRef>
              <c:f>'[situation comptable   SH 18 19.xls.xlsx]Feuil4'!$C$3:$C$38</c:f>
              <c:strCache>
                <c:ptCount val="6"/>
                <c:pt idx="0">
                  <c:v>S:Total Frais encadrement</c:v>
                </c:pt>
                <c:pt idx="1">
                  <c:v>S:Total Matériels et autres</c:v>
                </c:pt>
                <c:pt idx="2">
                  <c:v>S/total   Affiliations et licences</c:v>
                </c:pt>
                <c:pt idx="3">
                  <c:v>S:Total Compétitions</c:v>
                </c:pt>
                <c:pt idx="4">
                  <c:v>St/Total Fonctionnement</c:v>
                </c:pt>
                <c:pt idx="5">
                  <c:v>S:Total Buvetets et divers</c:v>
                </c:pt>
              </c:strCache>
            </c:strRef>
          </c:cat>
          <c:val>
            <c:numRef>
              <c:f>'[situation comptable   SH 18 19.xls.xlsx]Feuil4'!$D$3:$D$38</c:f>
              <c:numCache>
                <c:formatCode>#\ ##0\ "€"</c:formatCode>
                <c:ptCount val="6"/>
                <c:pt idx="0">
                  <c:v>39780</c:v>
                </c:pt>
                <c:pt idx="1">
                  <c:v>17100</c:v>
                </c:pt>
                <c:pt idx="2">
                  <c:v>14800</c:v>
                </c:pt>
                <c:pt idx="3">
                  <c:v>3600</c:v>
                </c:pt>
                <c:pt idx="4">
                  <c:v>2450</c:v>
                </c:pt>
                <c:pt idx="5">
                  <c:v>37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47-47F3-BB50-4E58F4F72AAA}"/>
            </c:ext>
          </c:extLst>
        </c:ser>
        <c:ser>
          <c:idx val="1"/>
          <c:order val="1"/>
          <c:tx>
            <c:strRef>
              <c:f>'[situation comptable   SH 18 19.xls.xlsx]Feuil4'!$E$2</c:f>
              <c:strCache>
                <c:ptCount val="1"/>
                <c:pt idx="0">
                  <c:v>Situation 2018-2019</c:v>
                </c:pt>
              </c:strCache>
            </c:strRef>
          </c:tx>
          <c:spPr>
            <a:solidFill>
              <a:schemeClr val="accent2"/>
            </a:solidFill>
            <a:ln w="19050">
              <a:solidFill>
                <a:schemeClr val="lt1"/>
              </a:solidFill>
            </a:ln>
            <a:effectLst/>
          </c:spPr>
          <c:invertIfNegative val="0"/>
          <c:cat>
            <c:strRef>
              <c:f>'[situation comptable   SH 18 19.xls.xlsx]Feuil4'!$C$3:$C$38</c:f>
              <c:strCache>
                <c:ptCount val="6"/>
                <c:pt idx="0">
                  <c:v>S:Total Frais encadrement</c:v>
                </c:pt>
                <c:pt idx="1">
                  <c:v>S:Total Matériels et autres</c:v>
                </c:pt>
                <c:pt idx="2">
                  <c:v>S/total   Affiliations et licences</c:v>
                </c:pt>
                <c:pt idx="3">
                  <c:v>S:Total Compétitions</c:v>
                </c:pt>
                <c:pt idx="4">
                  <c:v>St/Total Fonctionnement</c:v>
                </c:pt>
                <c:pt idx="5">
                  <c:v>S:Total Buvetets et divers</c:v>
                </c:pt>
              </c:strCache>
            </c:strRef>
          </c:cat>
          <c:val>
            <c:numRef>
              <c:f>'[situation comptable   SH 18 19.xls.xlsx]Feuil4'!$E$3:$E$38</c:f>
              <c:numCache>
                <c:formatCode>#\ ##0\ "€"</c:formatCode>
                <c:ptCount val="6"/>
                <c:pt idx="0">
                  <c:v>40635</c:v>
                </c:pt>
                <c:pt idx="1">
                  <c:v>18396</c:v>
                </c:pt>
                <c:pt idx="2">
                  <c:v>14650</c:v>
                </c:pt>
                <c:pt idx="3">
                  <c:v>3785</c:v>
                </c:pt>
                <c:pt idx="4">
                  <c:v>2279</c:v>
                </c:pt>
                <c:pt idx="5">
                  <c:v>50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47-47F3-BB50-4E58F4F72A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5439231"/>
        <c:axId val="467274239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'[situation comptable   SH 18 19.xls.xlsx]Feuil4'!$F$2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solidFill>
                    <a:schemeClr val="accent3"/>
                  </a:solidFill>
                  <a:ln w="19050">
                    <a:solidFill>
                      <a:schemeClr val="lt1"/>
                    </a:solidFill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'[situation comptable   SH 18 19.xls.xlsx]Feuil4'!$C$3:$C$38</c15:sqref>
                        </c15:formulaRef>
                      </c:ext>
                    </c:extLst>
                    <c:strCache>
                      <c:ptCount val="6"/>
                      <c:pt idx="0">
                        <c:v>S:Total Frais encadrement</c:v>
                      </c:pt>
                      <c:pt idx="1">
                        <c:v>S:Total Matériels et autres</c:v>
                      </c:pt>
                      <c:pt idx="2">
                        <c:v>S/total   Affiliations et licences</c:v>
                      </c:pt>
                      <c:pt idx="3">
                        <c:v>S:Total Compétitions</c:v>
                      </c:pt>
                      <c:pt idx="4">
                        <c:v>St/Total Fonctionnement</c:v>
                      </c:pt>
                      <c:pt idx="5">
                        <c:v>S:Total Buvetets et divers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[situation comptable   SH 18 19.xls.xlsx]Feuil4'!$F$3:$F$38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3" formatCode="#\ ##0\ &quot;€&quot;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FF47-47F3-BB50-4E58F4F72AAA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ituation comptable   SH 18 19.xls.xlsx]Feuil4'!$G$2</c15:sqref>
                        </c15:formulaRef>
                      </c:ext>
                    </c:extLst>
                    <c:strCache>
                      <c:ptCount val="1"/>
                      <c:pt idx="0">
                        <c:v>Budget 2019- 2020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 w="19050">
                    <a:solidFill>
                      <a:schemeClr val="lt1"/>
                    </a:solidFill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ituation comptable   SH 18 19.xls.xlsx]Feuil4'!$C$3:$C$38</c15:sqref>
                        </c15:formulaRef>
                      </c:ext>
                    </c:extLst>
                    <c:strCache>
                      <c:ptCount val="6"/>
                      <c:pt idx="0">
                        <c:v>S:Total Frais encadrement</c:v>
                      </c:pt>
                      <c:pt idx="1">
                        <c:v>S:Total Matériels et autres</c:v>
                      </c:pt>
                      <c:pt idx="2">
                        <c:v>S/total   Affiliations et licences</c:v>
                      </c:pt>
                      <c:pt idx="3">
                        <c:v>S:Total Compétitions</c:v>
                      </c:pt>
                      <c:pt idx="4">
                        <c:v>St/Total Fonctionnement</c:v>
                      </c:pt>
                      <c:pt idx="5">
                        <c:v>S:Total Buvetets et diver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ituation comptable   SH 18 19.xls.xlsx]Feuil4'!$G$3:$G$38</c15:sqref>
                        </c15:formulaRef>
                      </c:ext>
                    </c:extLst>
                    <c:numCache>
                      <c:formatCode>#\ ##0\ "€"</c:formatCode>
                      <c:ptCount val="6"/>
                      <c:pt idx="0">
                        <c:v>42190</c:v>
                      </c:pt>
                      <c:pt idx="1">
                        <c:v>13900</c:v>
                      </c:pt>
                      <c:pt idx="2">
                        <c:v>14500</c:v>
                      </c:pt>
                      <c:pt idx="3">
                        <c:v>4200</c:v>
                      </c:pt>
                      <c:pt idx="4">
                        <c:v>2490</c:v>
                      </c:pt>
                      <c:pt idx="5">
                        <c:v>511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FF47-47F3-BB50-4E58F4F72AAA}"/>
                  </c:ext>
                </c:extLst>
              </c15:ser>
            </c15:filteredBarSeries>
          </c:ext>
        </c:extLst>
      </c:barChart>
      <c:catAx>
        <c:axId val="13543923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7274239"/>
        <c:crosses val="autoZero"/>
        <c:auto val="1"/>
        <c:lblAlgn val="ctr"/>
        <c:lblOffset val="100"/>
        <c:noMultiLvlLbl val="0"/>
      </c:catAx>
      <c:valAx>
        <c:axId val="4672742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\ &quot;€&quot;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5439231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1"/>
          <c:order val="1"/>
          <c:tx>
            <c:strRef>
              <c:f>'[situation comptable   SH 18 19.xls.xlsx]Feuil4'!$E$2</c:f>
              <c:strCache>
                <c:ptCount val="1"/>
                <c:pt idx="0">
                  <c:v>Situation 2018-2019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D9E-4B3B-905D-8306B96DDC8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D9E-4B3B-905D-8306B96DDC8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D9E-4B3B-905D-8306B96DDC8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D9E-4B3B-905D-8306B96DDC8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D9E-4B3B-905D-8306B96DDC8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D9E-4B3B-905D-8306B96DDC8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situation comptable   SH 18 19.xls.xlsx]Feuil4'!$C$3:$C$38</c:f>
              <c:strCache>
                <c:ptCount val="6"/>
                <c:pt idx="0">
                  <c:v>S:Total Frais encadrement</c:v>
                </c:pt>
                <c:pt idx="1">
                  <c:v>S:Total Matériels et autres</c:v>
                </c:pt>
                <c:pt idx="2">
                  <c:v>S/total   Affiliations et licences</c:v>
                </c:pt>
                <c:pt idx="3">
                  <c:v>S:Total Compétitions</c:v>
                </c:pt>
                <c:pt idx="4">
                  <c:v>St/Total Fonctionnement</c:v>
                </c:pt>
                <c:pt idx="5">
                  <c:v>S:Total Buvetets et divers</c:v>
                </c:pt>
              </c:strCache>
            </c:strRef>
          </c:cat>
          <c:val>
            <c:numRef>
              <c:f>'[situation comptable   SH 18 19.xls.xlsx]Feuil4'!$E$3:$E$38</c:f>
              <c:numCache>
                <c:formatCode>#\ ##0\ "€"</c:formatCode>
                <c:ptCount val="6"/>
                <c:pt idx="0">
                  <c:v>40635</c:v>
                </c:pt>
                <c:pt idx="1">
                  <c:v>18396</c:v>
                </c:pt>
                <c:pt idx="2">
                  <c:v>14650</c:v>
                </c:pt>
                <c:pt idx="3">
                  <c:v>3785</c:v>
                </c:pt>
                <c:pt idx="4">
                  <c:v>2279</c:v>
                </c:pt>
                <c:pt idx="5">
                  <c:v>50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D9E-4B3B-905D-8306B96DDC8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extLst>
          <c:ext xmlns:c15="http://schemas.microsoft.com/office/drawing/2012/chart" uri="{02D57815-91ED-43cb-92C2-25804820EDAC}">
            <c15:filteredPi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situation comptable   SH 18 19.xls.xlsx]Feuil4'!$D$2</c15:sqref>
                        </c15:formulaRef>
                      </c:ext>
                    </c:extLst>
                    <c:strCache>
                      <c:ptCount val="1"/>
                      <c:pt idx="0">
                        <c:v>Budget 2018-2019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E-AD9E-4B3B-905D-8306B96DDC8A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0-AD9E-4B3B-905D-8306B96DDC8A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2-AD9E-4B3B-905D-8306B96DDC8A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4-AD9E-4B3B-905D-8306B96DDC8A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6-AD9E-4B3B-905D-8306B96DDC8A}"/>
                    </c:ext>
                  </c:extLst>
                </c:dPt>
                <c:dPt>
                  <c:idx val="5"/>
                  <c:bubble3D val="0"/>
                  <c:spPr>
                    <a:solidFill>
                      <a:schemeClr val="accent6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8-AD9E-4B3B-905D-8306B96DDC8A}"/>
                    </c:ext>
                  </c:extLst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fr-FR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>
                    <c:ext uri="{CE6537A1-D6FC-4f65-9D91-7224C49458BB}"/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'[situation comptable   SH 18 19.xls.xlsx]Feuil4'!$C$3:$C$38</c15:sqref>
                        </c15:formulaRef>
                      </c:ext>
                    </c:extLst>
                    <c:strCache>
                      <c:ptCount val="6"/>
                      <c:pt idx="0">
                        <c:v>S:Total Frais encadrement</c:v>
                      </c:pt>
                      <c:pt idx="1">
                        <c:v>S:Total Matériels et autres</c:v>
                      </c:pt>
                      <c:pt idx="2">
                        <c:v>S/total   Affiliations et licences</c:v>
                      </c:pt>
                      <c:pt idx="3">
                        <c:v>S:Total Compétitions</c:v>
                      </c:pt>
                      <c:pt idx="4">
                        <c:v>St/Total Fonctionnement</c:v>
                      </c:pt>
                      <c:pt idx="5">
                        <c:v>S:Total Buvetets et divers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[situation comptable   SH 18 19.xls.xlsx]Feuil4'!$D$3:$D$38</c15:sqref>
                        </c15:formulaRef>
                      </c:ext>
                    </c:extLst>
                    <c:numCache>
                      <c:formatCode>#\ ##0\ "€"</c:formatCode>
                      <c:ptCount val="6"/>
                      <c:pt idx="0">
                        <c:v>39780</c:v>
                      </c:pt>
                      <c:pt idx="1">
                        <c:v>17100</c:v>
                      </c:pt>
                      <c:pt idx="2">
                        <c:v>14800</c:v>
                      </c:pt>
                      <c:pt idx="3">
                        <c:v>3600</c:v>
                      </c:pt>
                      <c:pt idx="4">
                        <c:v>2450</c:v>
                      </c:pt>
                      <c:pt idx="5">
                        <c:v>372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19-AD9E-4B3B-905D-8306B96DDC8A}"/>
                  </c:ext>
                </c:extLst>
              </c15:ser>
            </c15:filteredPieSeries>
            <c15:filteredPi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ituation comptable   SH 18 19.xls.xlsx]Feuil4'!$F$2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B-AD9E-4B3B-905D-8306B96DDC8A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D-AD9E-4B3B-905D-8306B96DDC8A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F-AD9E-4B3B-905D-8306B96DDC8A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1-AD9E-4B3B-905D-8306B96DDC8A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3-AD9E-4B3B-905D-8306B96DDC8A}"/>
                    </c:ext>
                  </c:extLst>
                </c:dPt>
                <c:dPt>
                  <c:idx val="5"/>
                  <c:bubble3D val="0"/>
                  <c:spPr>
                    <a:solidFill>
                      <a:schemeClr val="accent6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5-AD9E-4B3B-905D-8306B96DDC8A}"/>
                    </c:ext>
                  </c:extLst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fr-FR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 xmlns:c15="http://schemas.microsoft.com/office/drawing/2012/chart">
                    <c:ext xmlns:c15="http://schemas.microsoft.com/office/drawing/2012/chart" uri="{CE6537A1-D6FC-4f65-9D91-7224C49458BB}"/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ituation comptable   SH 18 19.xls.xlsx]Feuil4'!$C$3:$C$38</c15:sqref>
                        </c15:formulaRef>
                      </c:ext>
                    </c:extLst>
                    <c:strCache>
                      <c:ptCount val="6"/>
                      <c:pt idx="0">
                        <c:v>S:Total Frais encadrement</c:v>
                      </c:pt>
                      <c:pt idx="1">
                        <c:v>S:Total Matériels et autres</c:v>
                      </c:pt>
                      <c:pt idx="2">
                        <c:v>S/total   Affiliations et licences</c:v>
                      </c:pt>
                      <c:pt idx="3">
                        <c:v>S:Total Compétitions</c:v>
                      </c:pt>
                      <c:pt idx="4">
                        <c:v>St/Total Fonctionnement</c:v>
                      </c:pt>
                      <c:pt idx="5">
                        <c:v>S:Total Buvetets et diver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ituation comptable   SH 18 19.xls.xlsx]Feuil4'!$F$3:$F$38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3" formatCode="#\ ##0\ &quot;€&quot;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6-AD9E-4B3B-905D-8306B96DDC8A}"/>
                  </c:ext>
                </c:extLst>
              </c15:ser>
            </c15:filteredPieSeries>
            <c15:filteredPi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ituation comptable   SH 18 19.xls.xlsx]Feuil4'!$G$2</c15:sqref>
                        </c15:formulaRef>
                      </c:ext>
                    </c:extLst>
                    <c:strCache>
                      <c:ptCount val="1"/>
                      <c:pt idx="0">
                        <c:v>Budget 2019- 2020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8-AD9E-4B3B-905D-8306B96DDC8A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A-AD9E-4B3B-905D-8306B96DDC8A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C-AD9E-4B3B-905D-8306B96DDC8A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E-AD9E-4B3B-905D-8306B96DDC8A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30-AD9E-4B3B-905D-8306B96DDC8A}"/>
                    </c:ext>
                  </c:extLst>
                </c:dPt>
                <c:dPt>
                  <c:idx val="5"/>
                  <c:bubble3D val="0"/>
                  <c:spPr>
                    <a:solidFill>
                      <a:schemeClr val="accent6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32-AD9E-4B3B-905D-8306B96DDC8A}"/>
                    </c:ext>
                  </c:extLst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fr-FR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 xmlns:c15="http://schemas.microsoft.com/office/drawing/2012/chart">
                    <c:ext xmlns:c15="http://schemas.microsoft.com/office/drawing/2012/chart" uri="{CE6537A1-D6FC-4f65-9D91-7224C49458BB}"/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ituation comptable   SH 18 19.xls.xlsx]Feuil4'!$C$3:$C$38</c15:sqref>
                        </c15:formulaRef>
                      </c:ext>
                    </c:extLst>
                    <c:strCache>
                      <c:ptCount val="6"/>
                      <c:pt idx="0">
                        <c:v>S:Total Frais encadrement</c:v>
                      </c:pt>
                      <c:pt idx="1">
                        <c:v>S:Total Matériels et autres</c:v>
                      </c:pt>
                      <c:pt idx="2">
                        <c:v>S/total   Affiliations et licences</c:v>
                      </c:pt>
                      <c:pt idx="3">
                        <c:v>S:Total Compétitions</c:v>
                      </c:pt>
                      <c:pt idx="4">
                        <c:v>St/Total Fonctionnement</c:v>
                      </c:pt>
                      <c:pt idx="5">
                        <c:v>S:Total Buvetets et diver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ituation comptable   SH 18 19.xls.xlsx]Feuil4'!$G$3:$G$38</c15:sqref>
                        </c15:formulaRef>
                      </c:ext>
                    </c:extLst>
                    <c:numCache>
                      <c:formatCode>#\ ##0\ "€"</c:formatCode>
                      <c:ptCount val="6"/>
                      <c:pt idx="0">
                        <c:v>42190</c:v>
                      </c:pt>
                      <c:pt idx="1">
                        <c:v>13900</c:v>
                      </c:pt>
                      <c:pt idx="2">
                        <c:v>14500</c:v>
                      </c:pt>
                      <c:pt idx="3">
                        <c:v>4200</c:v>
                      </c:pt>
                      <c:pt idx="4">
                        <c:v>2490</c:v>
                      </c:pt>
                      <c:pt idx="5">
                        <c:v>511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3-AD9E-4B3B-905D-8306B96DDC8A}"/>
                  </c:ext>
                </c:extLst>
              </c15:ser>
            </c15:filteredPieSeries>
          </c:ext>
        </c:extLst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AG 30 11 2018 finances.xlsx]pour ag'!$B$2:$B$3</c:f>
              <c:strCache>
                <c:ptCount val="2"/>
                <c:pt idx="0">
                  <c:v>BUDGET</c:v>
                </c:pt>
                <c:pt idx="1">
                  <c:v>2017/2018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0BC-4B72-A870-DCB2643BD43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0BC-4B72-A870-DCB2643BD43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0BC-4B72-A870-DCB2643BD43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0BC-4B72-A870-DCB2643BD43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0BC-4B72-A870-DCB2643BD43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AG 30 11 2018 finances.xlsx]pour ag'!$A$4:$A$90</c:f>
              <c:strCache>
                <c:ptCount val="5"/>
                <c:pt idx="0">
                  <c:v>TOTAL COTISATIONS</c:v>
                </c:pt>
                <c:pt idx="1">
                  <c:v>TOTAL SUBV. MUNICIPALES</c:v>
                </c:pt>
                <c:pt idx="2">
                  <c:v>TOTAL SUBV. DEPARTEMENT</c:v>
                </c:pt>
                <c:pt idx="3">
                  <c:v>Recette sponsoring (La Résidence)</c:v>
                </c:pt>
                <c:pt idx="4">
                  <c:v>TOTAL RECETTES DIVERSES</c:v>
                </c:pt>
              </c:strCache>
            </c:strRef>
          </c:cat>
          <c:val>
            <c:numRef>
              <c:f>'[AG 30 11 2018 finances.xlsx]pour ag'!$B$4:$B$90</c:f>
              <c:numCache>
                <c:formatCode>#\ ##0\ "€"</c:formatCode>
                <c:ptCount val="5"/>
                <c:pt idx="0">
                  <c:v>44100</c:v>
                </c:pt>
                <c:pt idx="1">
                  <c:v>14000</c:v>
                </c:pt>
                <c:pt idx="2">
                  <c:v>1200</c:v>
                </c:pt>
                <c:pt idx="3">
                  <c:v>4000</c:v>
                </c:pt>
                <c:pt idx="4">
                  <c:v>198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0BC-4B72-A870-DCB2643BD43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ituation comptable   SH 18 19.xls.xlsx]Feuil4'!$D$2</c:f>
              <c:strCache>
                <c:ptCount val="1"/>
                <c:pt idx="0">
                  <c:v>Budget 2018-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situation comptable   SH 18 19.xls.xlsx]Feuil4'!$C$3:$C$53</c:f>
              <c:strCache>
                <c:ptCount val="14"/>
                <c:pt idx="0">
                  <c:v>Cototisations Gym</c:v>
                </c:pt>
                <c:pt idx="1">
                  <c:v>Cotaisations Bad</c:v>
                </c:pt>
                <c:pt idx="2">
                  <c:v>Subvention municipale</c:v>
                </c:pt>
                <c:pt idx="3">
                  <c:v>Sub départementale (fonct et matériel)</c:v>
                </c:pt>
                <c:pt idx="4">
                  <c:v>Recettes buvettes</c:v>
                </c:pt>
                <c:pt idx="5">
                  <c:v>Indemnité LIFB top élite 1  régional</c:v>
                </c:pt>
                <c:pt idx="6">
                  <c:v>Ventes volants badminton</c:v>
                </c:pt>
                <c:pt idx="7">
                  <c:v>Participation stagiaires badminton</c:v>
                </c:pt>
                <c:pt idx="8">
                  <c:v>Droits d'inscription tournoi badminton</c:v>
                </c:pt>
                <c:pt idx="9">
                  <c:v>Ventes tenues sportives badminton</c:v>
                </c:pt>
                <c:pt idx="10">
                  <c:v>Ventes tenues sportives GAM</c:v>
                </c:pt>
                <c:pt idx="11">
                  <c:v>Recettes diverses</c:v>
                </c:pt>
                <c:pt idx="12">
                  <c:v>Recette sponsoring (La Résidence)</c:v>
                </c:pt>
                <c:pt idx="13">
                  <c:v>Intérêts livret</c:v>
                </c:pt>
              </c:strCache>
            </c:strRef>
          </c:cat>
          <c:val>
            <c:numRef>
              <c:f>'[situation comptable   SH 18 19.xls.xlsx]Feuil4'!$D$3:$D$53</c:f>
              <c:numCache>
                <c:formatCode>General</c:formatCode>
                <c:ptCount val="14"/>
                <c:pt idx="0">
                  <c:v>17000</c:v>
                </c:pt>
                <c:pt idx="1">
                  <c:v>32900</c:v>
                </c:pt>
                <c:pt idx="2" formatCode="#\ ##0\ &quot;€&quot;">
                  <c:v>14000</c:v>
                </c:pt>
                <c:pt idx="3" formatCode="#\ ##0\ &quot;€&quot;">
                  <c:v>2700</c:v>
                </c:pt>
                <c:pt idx="4" formatCode="#\ ##0\ &quot;€&quot;">
                  <c:v>1800</c:v>
                </c:pt>
                <c:pt idx="5" formatCode="#\ ##0\ &quot;€&quot;">
                  <c:v>0</c:v>
                </c:pt>
                <c:pt idx="6" formatCode="#\ ##0\ &quot;€&quot;">
                  <c:v>1000</c:v>
                </c:pt>
                <c:pt idx="7" formatCode="#\ ##0\ &quot;€&quot;">
                  <c:v>800</c:v>
                </c:pt>
                <c:pt idx="8" formatCode="#\ ##0\ &quot;€&quot;">
                  <c:v>5200</c:v>
                </c:pt>
                <c:pt idx="9" formatCode="#\ ##0\ &quot;€&quot;">
                  <c:v>1500</c:v>
                </c:pt>
                <c:pt idx="10" formatCode="#\ ##0\ &quot;€&quot;">
                  <c:v>500</c:v>
                </c:pt>
                <c:pt idx="11" formatCode="#\ ##0\ &quot;€&quot;">
                  <c:v>0</c:v>
                </c:pt>
                <c:pt idx="12" formatCode="#\ ##0\ &quot;€&quot;">
                  <c:v>4000</c:v>
                </c:pt>
                <c:pt idx="13" formatCode="#\ ##0\ &quot;€&quot;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C77-4462-A2D8-11AED0867E7A}"/>
            </c:ext>
          </c:extLst>
        </c:ser>
        <c:ser>
          <c:idx val="1"/>
          <c:order val="1"/>
          <c:tx>
            <c:strRef>
              <c:f>'[situation comptable   SH 18 19.xls.xlsx]Feuil4'!$E$2</c:f>
              <c:strCache>
                <c:ptCount val="1"/>
                <c:pt idx="0">
                  <c:v>Situation 2018-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[situation comptable   SH 18 19.xls.xlsx]Feuil4'!$C$3:$C$53</c:f>
              <c:strCache>
                <c:ptCount val="14"/>
                <c:pt idx="0">
                  <c:v>Cototisations Gym</c:v>
                </c:pt>
                <c:pt idx="1">
                  <c:v>Cotaisations Bad</c:v>
                </c:pt>
                <c:pt idx="2">
                  <c:v>Subvention municipale</c:v>
                </c:pt>
                <c:pt idx="3">
                  <c:v>Sub départementale (fonct et matériel)</c:v>
                </c:pt>
                <c:pt idx="4">
                  <c:v>Recettes buvettes</c:v>
                </c:pt>
                <c:pt idx="5">
                  <c:v>Indemnité LIFB top élite 1  régional</c:v>
                </c:pt>
                <c:pt idx="6">
                  <c:v>Ventes volants badminton</c:v>
                </c:pt>
                <c:pt idx="7">
                  <c:v>Participation stagiaires badminton</c:v>
                </c:pt>
                <c:pt idx="8">
                  <c:v>Droits d'inscription tournoi badminton</c:v>
                </c:pt>
                <c:pt idx="9">
                  <c:v>Ventes tenues sportives badminton</c:v>
                </c:pt>
                <c:pt idx="10">
                  <c:v>Ventes tenues sportives GAM</c:v>
                </c:pt>
                <c:pt idx="11">
                  <c:v>Recettes diverses</c:v>
                </c:pt>
                <c:pt idx="12">
                  <c:v>Recette sponsoring (La Résidence)</c:v>
                </c:pt>
                <c:pt idx="13">
                  <c:v>Intérêts livret</c:v>
                </c:pt>
              </c:strCache>
            </c:strRef>
          </c:cat>
          <c:val>
            <c:numRef>
              <c:f>'[situation comptable   SH 18 19.xls.xlsx]Feuil4'!$E$3:$E$53</c:f>
              <c:numCache>
                <c:formatCode>General</c:formatCode>
                <c:ptCount val="14"/>
                <c:pt idx="0">
                  <c:v>19415</c:v>
                </c:pt>
                <c:pt idx="1">
                  <c:v>35246</c:v>
                </c:pt>
                <c:pt idx="2" formatCode="#\ ##0\ &quot;€&quot;">
                  <c:v>14000</c:v>
                </c:pt>
                <c:pt idx="3" formatCode="#\ ##0\ &quot;€&quot;">
                  <c:v>1198</c:v>
                </c:pt>
                <c:pt idx="4" formatCode="#\ ##0\ &quot;€&quot;">
                  <c:v>3370</c:v>
                </c:pt>
                <c:pt idx="5" formatCode="#\ ##0\ &quot;€&quot;">
                  <c:v>500</c:v>
                </c:pt>
                <c:pt idx="6" formatCode="#\ ##0\ &quot;€&quot;">
                  <c:v>1663</c:v>
                </c:pt>
                <c:pt idx="7" formatCode="#\ ##0\ &quot;€&quot;">
                  <c:v>670</c:v>
                </c:pt>
                <c:pt idx="8" formatCode="#\ ##0\ &quot;€&quot;">
                  <c:v>6035</c:v>
                </c:pt>
                <c:pt idx="9" formatCode="#\ ##0\ &quot;€&quot;">
                  <c:v>470</c:v>
                </c:pt>
                <c:pt idx="10" formatCode="#\ ##0\ &quot;€&quot;">
                  <c:v>0</c:v>
                </c:pt>
                <c:pt idx="11" formatCode="#\ ##0\ &quot;€&quot;">
                  <c:v>125</c:v>
                </c:pt>
                <c:pt idx="12" formatCode="#\ ##0\ &quot;€&quot;">
                  <c:v>4000</c:v>
                </c:pt>
                <c:pt idx="13" formatCode="#\ ##0\ &quot;€&quot;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77-4462-A2D8-11AED0867E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65813807"/>
        <c:axId val="364124783"/>
      </c:barChart>
      <c:catAx>
        <c:axId val="4658138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64124783"/>
        <c:crosses val="autoZero"/>
        <c:auto val="1"/>
        <c:lblAlgn val="ctr"/>
        <c:lblOffset val="100"/>
        <c:noMultiLvlLbl val="0"/>
      </c:catAx>
      <c:valAx>
        <c:axId val="3641247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5813807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1"/>
          <c:tx>
            <c:strRef>
              <c:f>'[situation comptable   SH 18 19.xls.xlsx]Feuil4'!$E$2</c:f>
              <c:strCache>
                <c:ptCount val="1"/>
                <c:pt idx="0">
                  <c:v>Situation 2018-2019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C70-4646-B11C-0346599C0D9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C70-4646-B11C-0346599C0D9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C70-4646-B11C-0346599C0D9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C70-4646-B11C-0346599C0D9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C70-4646-B11C-0346599C0D9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C70-4646-B11C-0346599C0D9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8C70-4646-B11C-0346599C0D9E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8C70-4646-B11C-0346599C0D9E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8C70-4646-B11C-0346599C0D9E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8C70-4646-B11C-0346599C0D9E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8C70-4646-B11C-0346599C0D9E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8C70-4646-B11C-0346599C0D9E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8C70-4646-B11C-0346599C0D9E}"/>
              </c:ext>
            </c:extLst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8C70-4646-B11C-0346599C0D9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situation comptable   SH 18 19.xls.xlsx]Feuil4'!$C$3:$C$53</c:f>
              <c:strCache>
                <c:ptCount val="14"/>
                <c:pt idx="0">
                  <c:v>Cototisations Gym</c:v>
                </c:pt>
                <c:pt idx="1">
                  <c:v>Cotaisations Bad</c:v>
                </c:pt>
                <c:pt idx="2">
                  <c:v>Subvention municipale</c:v>
                </c:pt>
                <c:pt idx="3">
                  <c:v>Sub départementale (fonct et matériel)</c:v>
                </c:pt>
                <c:pt idx="4">
                  <c:v>Recettes buvettes</c:v>
                </c:pt>
                <c:pt idx="5">
                  <c:v>Indemnité LIFB top élite 1  régional</c:v>
                </c:pt>
                <c:pt idx="6">
                  <c:v>Ventes volants badminton</c:v>
                </c:pt>
                <c:pt idx="7">
                  <c:v>Participation stagiaires badminton</c:v>
                </c:pt>
                <c:pt idx="8">
                  <c:v>Droits d'inscription tournoi badminton</c:v>
                </c:pt>
                <c:pt idx="9">
                  <c:v>Ventes tenues sportives badminton</c:v>
                </c:pt>
                <c:pt idx="10">
                  <c:v>Ventes tenues sportives GAM</c:v>
                </c:pt>
                <c:pt idx="11">
                  <c:v>Recettes diverses</c:v>
                </c:pt>
                <c:pt idx="12">
                  <c:v>Recette sponsoring (La Résidence)</c:v>
                </c:pt>
                <c:pt idx="13">
                  <c:v>Intérêts livret</c:v>
                </c:pt>
              </c:strCache>
            </c:strRef>
          </c:cat>
          <c:val>
            <c:numRef>
              <c:f>'[situation comptable   SH 18 19.xls.xlsx]Feuil4'!$E$3:$E$53</c:f>
              <c:numCache>
                <c:formatCode>General</c:formatCode>
                <c:ptCount val="14"/>
                <c:pt idx="0">
                  <c:v>19415</c:v>
                </c:pt>
                <c:pt idx="1">
                  <c:v>35246</c:v>
                </c:pt>
                <c:pt idx="2" formatCode="#\ ##0\ &quot;€&quot;">
                  <c:v>14000</c:v>
                </c:pt>
                <c:pt idx="3" formatCode="#\ ##0\ &quot;€&quot;">
                  <c:v>1198</c:v>
                </c:pt>
                <c:pt idx="4" formatCode="#\ ##0\ &quot;€&quot;">
                  <c:v>3370</c:v>
                </c:pt>
                <c:pt idx="5" formatCode="#\ ##0\ &quot;€&quot;">
                  <c:v>500</c:v>
                </c:pt>
                <c:pt idx="6" formatCode="#\ ##0\ &quot;€&quot;">
                  <c:v>1663</c:v>
                </c:pt>
                <c:pt idx="7" formatCode="#\ ##0\ &quot;€&quot;">
                  <c:v>670</c:v>
                </c:pt>
                <c:pt idx="8" formatCode="#\ ##0\ &quot;€&quot;">
                  <c:v>6035</c:v>
                </c:pt>
                <c:pt idx="9" formatCode="#\ ##0\ &quot;€&quot;">
                  <c:v>470</c:v>
                </c:pt>
                <c:pt idx="10" formatCode="#\ ##0\ &quot;€&quot;">
                  <c:v>0</c:v>
                </c:pt>
                <c:pt idx="11" formatCode="#\ ##0\ &quot;€&quot;">
                  <c:v>125</c:v>
                </c:pt>
                <c:pt idx="12" formatCode="#\ ##0\ &quot;€&quot;">
                  <c:v>4000</c:v>
                </c:pt>
                <c:pt idx="13" formatCode="#\ ##0\ &quot;€&quot;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8C70-4646-B11C-0346599C0D9E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extLst>
          <c:ext xmlns:c15="http://schemas.microsoft.com/office/drawing/2012/chart" uri="{02D57815-91ED-43cb-92C2-25804820EDAC}">
            <c15:filteredPi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situation comptable   SH 18 19.xls.xlsx]Feuil4'!$D$2</c15:sqref>
                        </c15:formulaRef>
                      </c:ext>
                    </c:extLst>
                    <c:strCache>
                      <c:ptCount val="1"/>
                      <c:pt idx="0">
                        <c:v>Budget 2018-2019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E-8C70-4646-B11C-0346599C0D9E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0-8C70-4646-B11C-0346599C0D9E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2-8C70-4646-B11C-0346599C0D9E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4-8C70-4646-B11C-0346599C0D9E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6-8C70-4646-B11C-0346599C0D9E}"/>
                    </c:ext>
                  </c:extLst>
                </c:dPt>
                <c:dPt>
                  <c:idx val="5"/>
                  <c:bubble3D val="0"/>
                  <c:spPr>
                    <a:solidFill>
                      <a:schemeClr val="accent6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8-8C70-4646-B11C-0346599C0D9E}"/>
                    </c:ext>
                  </c:extLst>
                </c:dPt>
                <c:dPt>
                  <c:idx val="6"/>
                  <c:bubble3D val="0"/>
                  <c:spPr>
                    <a:solidFill>
                      <a:schemeClr val="accent1">
                        <a:lumMod val="6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A-8C70-4646-B11C-0346599C0D9E}"/>
                    </c:ext>
                  </c:extLst>
                </c:dPt>
                <c:dPt>
                  <c:idx val="7"/>
                  <c:bubble3D val="0"/>
                  <c:spPr>
                    <a:solidFill>
                      <a:schemeClr val="accent2">
                        <a:lumMod val="6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C-8C70-4646-B11C-0346599C0D9E}"/>
                    </c:ext>
                  </c:extLst>
                </c:dPt>
                <c:dPt>
                  <c:idx val="8"/>
                  <c:bubble3D val="0"/>
                  <c:spPr>
                    <a:solidFill>
                      <a:schemeClr val="accent3">
                        <a:lumMod val="6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E-8C70-4646-B11C-0346599C0D9E}"/>
                    </c:ext>
                  </c:extLst>
                </c:dPt>
                <c:dPt>
                  <c:idx val="9"/>
                  <c:bubble3D val="0"/>
                  <c:spPr>
                    <a:solidFill>
                      <a:schemeClr val="accent4">
                        <a:lumMod val="6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0-8C70-4646-B11C-0346599C0D9E}"/>
                    </c:ext>
                  </c:extLst>
                </c:dPt>
                <c:dPt>
                  <c:idx val="10"/>
                  <c:bubble3D val="0"/>
                  <c:spPr>
                    <a:solidFill>
                      <a:schemeClr val="accent5">
                        <a:lumMod val="6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2-8C70-4646-B11C-0346599C0D9E}"/>
                    </c:ext>
                  </c:extLst>
                </c:dPt>
                <c:dPt>
                  <c:idx val="11"/>
                  <c:bubble3D val="0"/>
                  <c:spPr>
                    <a:solidFill>
                      <a:schemeClr val="accent6">
                        <a:lumMod val="6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4-8C70-4646-B11C-0346599C0D9E}"/>
                    </c:ext>
                  </c:extLst>
                </c:dPt>
                <c:dPt>
                  <c:idx val="12"/>
                  <c:bubble3D val="0"/>
                  <c:spPr>
                    <a:solidFill>
                      <a:schemeClr val="accent1">
                        <a:lumMod val="80000"/>
                        <a:lumOff val="2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6-8C70-4646-B11C-0346599C0D9E}"/>
                    </c:ext>
                  </c:extLst>
                </c:dPt>
                <c:dPt>
                  <c:idx val="13"/>
                  <c:bubble3D val="0"/>
                  <c:spPr>
                    <a:solidFill>
                      <a:schemeClr val="accent2">
                        <a:lumMod val="80000"/>
                        <a:lumOff val="2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8-8C70-4646-B11C-0346599C0D9E}"/>
                    </c:ext>
                  </c:extLst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fr-FR"/>
                    </a:p>
                  </c:txPr>
                  <c:dLblPos val="bestFit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>
                    <c:ext uri="{CE6537A1-D6FC-4f65-9D91-7224C49458BB}"/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'[situation comptable   SH 18 19.xls.xlsx]Feuil4'!$C$3:$C$53</c15:sqref>
                        </c15:formulaRef>
                      </c:ext>
                    </c:extLst>
                    <c:strCache>
                      <c:ptCount val="14"/>
                      <c:pt idx="0">
                        <c:v>Cototisations Gym</c:v>
                      </c:pt>
                      <c:pt idx="1">
                        <c:v>Cotaisations Bad</c:v>
                      </c:pt>
                      <c:pt idx="2">
                        <c:v>Subvention municipale</c:v>
                      </c:pt>
                      <c:pt idx="3">
                        <c:v>Sub départementale (fonct et matériel)</c:v>
                      </c:pt>
                      <c:pt idx="4">
                        <c:v>Recettes buvettes</c:v>
                      </c:pt>
                      <c:pt idx="5">
                        <c:v>Indemnité LIFB top élite 1  régional</c:v>
                      </c:pt>
                      <c:pt idx="6">
                        <c:v>Ventes volants badminton</c:v>
                      </c:pt>
                      <c:pt idx="7">
                        <c:v>Participation stagiaires badminton</c:v>
                      </c:pt>
                      <c:pt idx="8">
                        <c:v>Droits d'inscription tournoi badminton</c:v>
                      </c:pt>
                      <c:pt idx="9">
                        <c:v>Ventes tenues sportives badminton</c:v>
                      </c:pt>
                      <c:pt idx="10">
                        <c:v>Ventes tenues sportives GAM</c:v>
                      </c:pt>
                      <c:pt idx="11">
                        <c:v>Recettes diverses</c:v>
                      </c:pt>
                      <c:pt idx="12">
                        <c:v>Recette sponsoring (La Résidence)</c:v>
                      </c:pt>
                      <c:pt idx="13">
                        <c:v>Intérêts livret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[situation comptable   SH 18 19.xls.xlsx]Feuil4'!$D$3:$D$53</c15:sqref>
                        </c15:formulaRef>
                      </c:ext>
                    </c:extLst>
                    <c:numCache>
                      <c:formatCode>General</c:formatCode>
                      <c:ptCount val="14"/>
                      <c:pt idx="0">
                        <c:v>17000</c:v>
                      </c:pt>
                      <c:pt idx="1">
                        <c:v>32900</c:v>
                      </c:pt>
                      <c:pt idx="2" formatCode="#\ ##0\ &quot;€&quot;">
                        <c:v>14000</c:v>
                      </c:pt>
                      <c:pt idx="3" formatCode="#\ ##0\ &quot;€&quot;">
                        <c:v>2700</c:v>
                      </c:pt>
                      <c:pt idx="4" formatCode="#\ ##0\ &quot;€&quot;">
                        <c:v>1800</c:v>
                      </c:pt>
                      <c:pt idx="5" formatCode="#\ ##0\ &quot;€&quot;">
                        <c:v>0</c:v>
                      </c:pt>
                      <c:pt idx="6" formatCode="#\ ##0\ &quot;€&quot;">
                        <c:v>1000</c:v>
                      </c:pt>
                      <c:pt idx="7" formatCode="#\ ##0\ &quot;€&quot;">
                        <c:v>800</c:v>
                      </c:pt>
                      <c:pt idx="8" formatCode="#\ ##0\ &quot;€&quot;">
                        <c:v>5200</c:v>
                      </c:pt>
                      <c:pt idx="9" formatCode="#\ ##0\ &quot;€&quot;">
                        <c:v>1500</c:v>
                      </c:pt>
                      <c:pt idx="10" formatCode="#\ ##0\ &quot;€&quot;">
                        <c:v>500</c:v>
                      </c:pt>
                      <c:pt idx="11" formatCode="#\ ##0\ &quot;€&quot;">
                        <c:v>0</c:v>
                      </c:pt>
                      <c:pt idx="12" formatCode="#\ ##0\ &quot;€&quot;">
                        <c:v>4000</c:v>
                      </c:pt>
                      <c:pt idx="13" formatCode="#\ ##0\ &quot;€&quot;">
                        <c:v>5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39-8C70-4646-B11C-0346599C0D9E}"/>
                  </c:ext>
                </c:extLst>
              </c15:ser>
            </c15:filteredPieSeries>
          </c:ext>
        </c:extLst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[situation comptable   SH 18 19.xls.xlsx]Feuil4'!$E$2</c:f>
              <c:strCache>
                <c:ptCount val="1"/>
                <c:pt idx="0">
                  <c:v>Situation 2018-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[situation comptable   SH 18 19.xls.xlsx]Feuil4'!$C$3:$C$38</c:f>
              <c:strCache>
                <c:ptCount val="6"/>
                <c:pt idx="0">
                  <c:v>S:Total Frais encadrement</c:v>
                </c:pt>
                <c:pt idx="1">
                  <c:v>S:Total Matériels et autres</c:v>
                </c:pt>
                <c:pt idx="2">
                  <c:v>S/total   Affiliations et licences</c:v>
                </c:pt>
                <c:pt idx="3">
                  <c:v>S:Total Compétitions</c:v>
                </c:pt>
                <c:pt idx="4">
                  <c:v>St/Total Fonctionnement</c:v>
                </c:pt>
                <c:pt idx="5">
                  <c:v>S:Total Buvetets et divers</c:v>
                </c:pt>
              </c:strCache>
            </c:strRef>
          </c:cat>
          <c:val>
            <c:numRef>
              <c:f>'[situation comptable   SH 18 19.xls.xlsx]Feuil4'!$E$3:$E$38</c:f>
              <c:numCache>
                <c:formatCode>#\ ##0\ "€"</c:formatCode>
                <c:ptCount val="6"/>
                <c:pt idx="0">
                  <c:v>40635</c:v>
                </c:pt>
                <c:pt idx="1">
                  <c:v>18396</c:v>
                </c:pt>
                <c:pt idx="2">
                  <c:v>14650</c:v>
                </c:pt>
                <c:pt idx="3">
                  <c:v>3785</c:v>
                </c:pt>
                <c:pt idx="4">
                  <c:v>2279</c:v>
                </c:pt>
                <c:pt idx="5">
                  <c:v>50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1A-4BBF-BCFC-625331A69C6F}"/>
            </c:ext>
          </c:extLst>
        </c:ser>
        <c:ser>
          <c:idx val="3"/>
          <c:order val="3"/>
          <c:tx>
            <c:strRef>
              <c:f>'[situation comptable   SH 18 19.xls.xlsx]Feuil4'!$G$2</c:f>
              <c:strCache>
                <c:ptCount val="1"/>
                <c:pt idx="0">
                  <c:v>Budget 2019- 2020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[situation comptable   SH 18 19.xls.xlsx]Feuil4'!$C$3:$C$38</c:f>
              <c:strCache>
                <c:ptCount val="6"/>
                <c:pt idx="0">
                  <c:v>S:Total Frais encadrement</c:v>
                </c:pt>
                <c:pt idx="1">
                  <c:v>S:Total Matériels et autres</c:v>
                </c:pt>
                <c:pt idx="2">
                  <c:v>S/total   Affiliations et licences</c:v>
                </c:pt>
                <c:pt idx="3">
                  <c:v>S:Total Compétitions</c:v>
                </c:pt>
                <c:pt idx="4">
                  <c:v>St/Total Fonctionnement</c:v>
                </c:pt>
                <c:pt idx="5">
                  <c:v>S:Total Buvetets et divers</c:v>
                </c:pt>
              </c:strCache>
            </c:strRef>
          </c:cat>
          <c:val>
            <c:numRef>
              <c:f>'[situation comptable   SH 18 19.xls.xlsx]Feuil4'!$G$3:$G$38</c:f>
              <c:numCache>
                <c:formatCode>#\ ##0\ "€"</c:formatCode>
                <c:ptCount val="6"/>
                <c:pt idx="0">
                  <c:v>42190</c:v>
                </c:pt>
                <c:pt idx="1">
                  <c:v>13900</c:v>
                </c:pt>
                <c:pt idx="2">
                  <c:v>14500</c:v>
                </c:pt>
                <c:pt idx="3">
                  <c:v>4200</c:v>
                </c:pt>
                <c:pt idx="4">
                  <c:v>2490</c:v>
                </c:pt>
                <c:pt idx="5">
                  <c:v>5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1A-4BBF-BCFC-625331A69C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04050207"/>
        <c:axId val="239407279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situation comptable   SH 18 19.xls.xlsx]Feuil4'!$D$2</c15:sqref>
                        </c15:formulaRef>
                      </c:ext>
                    </c:extLst>
                    <c:strCache>
                      <c:ptCount val="1"/>
                      <c:pt idx="0">
                        <c:v>Budget 2018-2019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'[situation comptable   SH 18 19.xls.xlsx]Feuil4'!$C$3:$C$38</c15:sqref>
                        </c15:formulaRef>
                      </c:ext>
                    </c:extLst>
                    <c:strCache>
                      <c:ptCount val="6"/>
                      <c:pt idx="0">
                        <c:v>S:Total Frais encadrement</c:v>
                      </c:pt>
                      <c:pt idx="1">
                        <c:v>S:Total Matériels et autres</c:v>
                      </c:pt>
                      <c:pt idx="2">
                        <c:v>S/total   Affiliations et licences</c:v>
                      </c:pt>
                      <c:pt idx="3">
                        <c:v>S:Total Compétitions</c:v>
                      </c:pt>
                      <c:pt idx="4">
                        <c:v>St/Total Fonctionnement</c:v>
                      </c:pt>
                      <c:pt idx="5">
                        <c:v>S:Total Buvetets et divers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[situation comptable   SH 18 19.xls.xlsx]Feuil4'!$D$3:$D$38</c15:sqref>
                        </c15:formulaRef>
                      </c:ext>
                    </c:extLst>
                    <c:numCache>
                      <c:formatCode>#\ ##0\ "€"</c:formatCode>
                      <c:ptCount val="6"/>
                      <c:pt idx="0">
                        <c:v>39780</c:v>
                      </c:pt>
                      <c:pt idx="1">
                        <c:v>17100</c:v>
                      </c:pt>
                      <c:pt idx="2">
                        <c:v>14800</c:v>
                      </c:pt>
                      <c:pt idx="3">
                        <c:v>3600</c:v>
                      </c:pt>
                      <c:pt idx="4">
                        <c:v>2450</c:v>
                      </c:pt>
                      <c:pt idx="5">
                        <c:v>372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4C1A-4BBF-BCFC-625331A69C6F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ituation comptable   SH 18 19.xls.xlsx]Feuil4'!$F$2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ituation comptable   SH 18 19.xls.xlsx]Feuil4'!$C$3:$C$38</c15:sqref>
                        </c15:formulaRef>
                      </c:ext>
                    </c:extLst>
                    <c:strCache>
                      <c:ptCount val="6"/>
                      <c:pt idx="0">
                        <c:v>S:Total Frais encadrement</c:v>
                      </c:pt>
                      <c:pt idx="1">
                        <c:v>S:Total Matériels et autres</c:v>
                      </c:pt>
                      <c:pt idx="2">
                        <c:v>S/total   Affiliations et licences</c:v>
                      </c:pt>
                      <c:pt idx="3">
                        <c:v>S:Total Compétitions</c:v>
                      </c:pt>
                      <c:pt idx="4">
                        <c:v>St/Total Fonctionnement</c:v>
                      </c:pt>
                      <c:pt idx="5">
                        <c:v>S:Total Buvetets et diver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ituation comptable   SH 18 19.xls.xlsx]Feuil4'!$F$3:$F$38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3" formatCode="#\ ##0\ &quot;€&quot;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4C1A-4BBF-BCFC-625331A69C6F}"/>
                  </c:ext>
                </c:extLst>
              </c15:ser>
            </c15:filteredBarSeries>
          </c:ext>
        </c:extLst>
      </c:barChart>
      <c:catAx>
        <c:axId val="604050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39407279"/>
        <c:crosses val="autoZero"/>
        <c:auto val="1"/>
        <c:lblAlgn val="ctr"/>
        <c:lblOffset val="100"/>
        <c:noMultiLvlLbl val="0"/>
      </c:catAx>
      <c:valAx>
        <c:axId val="2394072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\ &quot;€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04050207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[situation comptable   SH 18 19.xls.xlsx]Feuil4'!$E$2</c:f>
              <c:strCache>
                <c:ptCount val="1"/>
                <c:pt idx="0">
                  <c:v>Situation 2018-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[situation comptable   SH 18 19.xls.xlsx]Feuil4'!$C$3:$C$53</c:f>
              <c:strCache>
                <c:ptCount val="14"/>
                <c:pt idx="0">
                  <c:v>Cototisations Gym</c:v>
                </c:pt>
                <c:pt idx="1">
                  <c:v>Cotaisations Bad</c:v>
                </c:pt>
                <c:pt idx="2">
                  <c:v>Subvention municipale</c:v>
                </c:pt>
                <c:pt idx="3">
                  <c:v>Sub départementale (fonct et matériel)</c:v>
                </c:pt>
                <c:pt idx="4">
                  <c:v>Recettes buvettes</c:v>
                </c:pt>
                <c:pt idx="5">
                  <c:v>Indemnité LIFB top élite 1  régional</c:v>
                </c:pt>
                <c:pt idx="6">
                  <c:v>Ventes volants badminton</c:v>
                </c:pt>
                <c:pt idx="7">
                  <c:v>Participation stagiaires badminton</c:v>
                </c:pt>
                <c:pt idx="8">
                  <c:v>Droits d'inscription tournoi badminton</c:v>
                </c:pt>
                <c:pt idx="9">
                  <c:v>Ventes tenues sportives badminton</c:v>
                </c:pt>
                <c:pt idx="10">
                  <c:v>Ventes tenues sportives GAM</c:v>
                </c:pt>
                <c:pt idx="11">
                  <c:v>Recettes diverses</c:v>
                </c:pt>
                <c:pt idx="12">
                  <c:v>Recette sponsoring (La Résidence)</c:v>
                </c:pt>
                <c:pt idx="13">
                  <c:v>Intérêts livret</c:v>
                </c:pt>
              </c:strCache>
            </c:strRef>
          </c:cat>
          <c:val>
            <c:numRef>
              <c:f>'[situation comptable   SH 18 19.xls.xlsx]Feuil4'!$E$3:$E$53</c:f>
              <c:numCache>
                <c:formatCode>General</c:formatCode>
                <c:ptCount val="14"/>
                <c:pt idx="0">
                  <c:v>19415</c:v>
                </c:pt>
                <c:pt idx="1">
                  <c:v>35246</c:v>
                </c:pt>
                <c:pt idx="2" formatCode="#\ ##0\ &quot;€&quot;">
                  <c:v>14000</c:v>
                </c:pt>
                <c:pt idx="3" formatCode="#\ ##0\ &quot;€&quot;">
                  <c:v>1198</c:v>
                </c:pt>
                <c:pt idx="4" formatCode="#\ ##0\ &quot;€&quot;">
                  <c:v>3370</c:v>
                </c:pt>
                <c:pt idx="5" formatCode="#\ ##0\ &quot;€&quot;">
                  <c:v>500</c:v>
                </c:pt>
                <c:pt idx="6" formatCode="#\ ##0\ &quot;€&quot;">
                  <c:v>1663</c:v>
                </c:pt>
                <c:pt idx="7" formatCode="#\ ##0\ &quot;€&quot;">
                  <c:v>670</c:v>
                </c:pt>
                <c:pt idx="8" formatCode="#\ ##0\ &quot;€&quot;">
                  <c:v>6035</c:v>
                </c:pt>
                <c:pt idx="9" formatCode="#\ ##0\ &quot;€&quot;">
                  <c:v>470</c:v>
                </c:pt>
                <c:pt idx="10" formatCode="#\ ##0\ &quot;€&quot;">
                  <c:v>0</c:v>
                </c:pt>
                <c:pt idx="11" formatCode="#\ ##0\ &quot;€&quot;">
                  <c:v>125</c:v>
                </c:pt>
                <c:pt idx="12" formatCode="#\ ##0\ &quot;€&quot;">
                  <c:v>4000</c:v>
                </c:pt>
                <c:pt idx="13" formatCode="#\ ##0\ &quot;€&quot;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4D-41F2-854B-E82ADD88C70D}"/>
            </c:ext>
          </c:extLst>
        </c:ser>
        <c:ser>
          <c:idx val="3"/>
          <c:order val="3"/>
          <c:tx>
            <c:strRef>
              <c:f>'[situation comptable   SH 18 19.xls.xlsx]Feuil4'!$G$2</c:f>
              <c:strCache>
                <c:ptCount val="1"/>
                <c:pt idx="0">
                  <c:v>Budget 2019- 2020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[situation comptable   SH 18 19.xls.xlsx]Feuil4'!$C$3:$C$53</c:f>
              <c:strCache>
                <c:ptCount val="14"/>
                <c:pt idx="0">
                  <c:v>Cototisations Gym</c:v>
                </c:pt>
                <c:pt idx="1">
                  <c:v>Cotaisations Bad</c:v>
                </c:pt>
                <c:pt idx="2">
                  <c:v>Subvention municipale</c:v>
                </c:pt>
                <c:pt idx="3">
                  <c:v>Sub départementale (fonct et matériel)</c:v>
                </c:pt>
                <c:pt idx="4">
                  <c:v>Recettes buvettes</c:v>
                </c:pt>
                <c:pt idx="5">
                  <c:v>Indemnité LIFB top élite 1  régional</c:v>
                </c:pt>
                <c:pt idx="6">
                  <c:v>Ventes volants badminton</c:v>
                </c:pt>
                <c:pt idx="7">
                  <c:v>Participation stagiaires badminton</c:v>
                </c:pt>
                <c:pt idx="8">
                  <c:v>Droits d'inscription tournoi badminton</c:v>
                </c:pt>
                <c:pt idx="9">
                  <c:v>Ventes tenues sportives badminton</c:v>
                </c:pt>
                <c:pt idx="10">
                  <c:v>Ventes tenues sportives GAM</c:v>
                </c:pt>
                <c:pt idx="11">
                  <c:v>Recettes diverses</c:v>
                </c:pt>
                <c:pt idx="12">
                  <c:v>Recette sponsoring (La Résidence)</c:v>
                </c:pt>
                <c:pt idx="13">
                  <c:v>Intérêts livret</c:v>
                </c:pt>
              </c:strCache>
            </c:strRef>
          </c:cat>
          <c:val>
            <c:numRef>
              <c:f>'[situation comptable   SH 18 19.xls.xlsx]Feuil4'!$G$3:$G$53</c:f>
              <c:numCache>
                <c:formatCode>General</c:formatCode>
                <c:ptCount val="14"/>
                <c:pt idx="0">
                  <c:v>14000</c:v>
                </c:pt>
                <c:pt idx="1">
                  <c:v>35000</c:v>
                </c:pt>
                <c:pt idx="2" formatCode="#\ ##0\ &quot;€&quot;">
                  <c:v>14000</c:v>
                </c:pt>
                <c:pt idx="3" formatCode="#\ ##0\ &quot;€&quot;">
                  <c:v>2530</c:v>
                </c:pt>
                <c:pt idx="4" formatCode="#\ ##0\ &quot;€&quot;">
                  <c:v>3400</c:v>
                </c:pt>
                <c:pt idx="5" formatCode="#\ ##0\ &quot;€&quot;">
                  <c:v>0</c:v>
                </c:pt>
                <c:pt idx="6" formatCode="#\ ##0\ &quot;€&quot;">
                  <c:v>1300</c:v>
                </c:pt>
                <c:pt idx="7" formatCode="#\ ##0\ &quot;€&quot;">
                  <c:v>800</c:v>
                </c:pt>
                <c:pt idx="8" formatCode="#\ ##0\ &quot;€&quot;">
                  <c:v>5500</c:v>
                </c:pt>
                <c:pt idx="9" formatCode="#\ ##0\ &quot;€&quot;">
                  <c:v>1500</c:v>
                </c:pt>
                <c:pt idx="10" formatCode="#\ ##0\ &quot;€&quot;">
                  <c:v>300</c:v>
                </c:pt>
                <c:pt idx="11" formatCode="#\ ##0\ &quot;€&quot;">
                  <c:v>0</c:v>
                </c:pt>
                <c:pt idx="12" formatCode="#\ ##0\ &quot;€&quot;">
                  <c:v>4000</c:v>
                </c:pt>
                <c:pt idx="13" formatCode="#\ ##0\ &quot;€&quot;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4D-41F2-854B-E82ADD88C7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5433231"/>
        <c:axId val="467252191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situation comptable   SH 18 19.xls.xlsx]Feuil4'!$D$2</c15:sqref>
                        </c15:formulaRef>
                      </c:ext>
                    </c:extLst>
                    <c:strCache>
                      <c:ptCount val="1"/>
                      <c:pt idx="0">
                        <c:v>Budget 2018-2019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'[situation comptable   SH 18 19.xls.xlsx]Feuil4'!$C$3:$C$53</c15:sqref>
                        </c15:formulaRef>
                      </c:ext>
                    </c:extLst>
                    <c:strCache>
                      <c:ptCount val="14"/>
                      <c:pt idx="0">
                        <c:v>Cototisations Gym</c:v>
                      </c:pt>
                      <c:pt idx="1">
                        <c:v>Cotaisations Bad</c:v>
                      </c:pt>
                      <c:pt idx="2">
                        <c:v>Subvention municipale</c:v>
                      </c:pt>
                      <c:pt idx="3">
                        <c:v>Sub départementale (fonct et matériel)</c:v>
                      </c:pt>
                      <c:pt idx="4">
                        <c:v>Recettes buvettes</c:v>
                      </c:pt>
                      <c:pt idx="5">
                        <c:v>Indemnité LIFB top élite 1  régional</c:v>
                      </c:pt>
                      <c:pt idx="6">
                        <c:v>Ventes volants badminton</c:v>
                      </c:pt>
                      <c:pt idx="7">
                        <c:v>Participation stagiaires badminton</c:v>
                      </c:pt>
                      <c:pt idx="8">
                        <c:v>Droits d'inscription tournoi badminton</c:v>
                      </c:pt>
                      <c:pt idx="9">
                        <c:v>Ventes tenues sportives badminton</c:v>
                      </c:pt>
                      <c:pt idx="10">
                        <c:v>Ventes tenues sportives GAM</c:v>
                      </c:pt>
                      <c:pt idx="11">
                        <c:v>Recettes diverses</c:v>
                      </c:pt>
                      <c:pt idx="12">
                        <c:v>Recette sponsoring (La Résidence)</c:v>
                      </c:pt>
                      <c:pt idx="13">
                        <c:v>Intérêts livret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[situation comptable   SH 18 19.xls.xlsx]Feuil4'!$D$3:$D$53</c15:sqref>
                        </c15:formulaRef>
                      </c:ext>
                    </c:extLst>
                    <c:numCache>
                      <c:formatCode>General</c:formatCode>
                      <c:ptCount val="14"/>
                      <c:pt idx="0">
                        <c:v>17000</c:v>
                      </c:pt>
                      <c:pt idx="1">
                        <c:v>32900</c:v>
                      </c:pt>
                      <c:pt idx="2" formatCode="#\ ##0\ &quot;€&quot;">
                        <c:v>14000</c:v>
                      </c:pt>
                      <c:pt idx="3" formatCode="#\ ##0\ &quot;€&quot;">
                        <c:v>2700</c:v>
                      </c:pt>
                      <c:pt idx="4" formatCode="#\ ##0\ &quot;€&quot;">
                        <c:v>1800</c:v>
                      </c:pt>
                      <c:pt idx="5" formatCode="#\ ##0\ &quot;€&quot;">
                        <c:v>0</c:v>
                      </c:pt>
                      <c:pt idx="6" formatCode="#\ ##0\ &quot;€&quot;">
                        <c:v>1000</c:v>
                      </c:pt>
                      <c:pt idx="7" formatCode="#\ ##0\ &quot;€&quot;">
                        <c:v>800</c:v>
                      </c:pt>
                      <c:pt idx="8" formatCode="#\ ##0\ &quot;€&quot;">
                        <c:v>5200</c:v>
                      </c:pt>
                      <c:pt idx="9" formatCode="#\ ##0\ &quot;€&quot;">
                        <c:v>1500</c:v>
                      </c:pt>
                      <c:pt idx="10" formatCode="#\ ##0\ &quot;€&quot;">
                        <c:v>500</c:v>
                      </c:pt>
                      <c:pt idx="11" formatCode="#\ ##0\ &quot;€&quot;">
                        <c:v>0</c:v>
                      </c:pt>
                      <c:pt idx="12" formatCode="#\ ##0\ &quot;€&quot;">
                        <c:v>4000</c:v>
                      </c:pt>
                      <c:pt idx="13" formatCode="#\ ##0\ &quot;€&quot;">
                        <c:v>5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374D-41F2-854B-E82ADD88C70D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ituation comptable   SH 18 19.xls.xlsx]Feuil4'!$F$2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ituation comptable   SH 18 19.xls.xlsx]Feuil4'!$C$3:$C$53</c15:sqref>
                        </c15:formulaRef>
                      </c:ext>
                    </c:extLst>
                    <c:strCache>
                      <c:ptCount val="14"/>
                      <c:pt idx="0">
                        <c:v>Cototisations Gym</c:v>
                      </c:pt>
                      <c:pt idx="1">
                        <c:v>Cotaisations Bad</c:v>
                      </c:pt>
                      <c:pt idx="2">
                        <c:v>Subvention municipale</c:v>
                      </c:pt>
                      <c:pt idx="3">
                        <c:v>Sub départementale (fonct et matériel)</c:v>
                      </c:pt>
                      <c:pt idx="4">
                        <c:v>Recettes buvettes</c:v>
                      </c:pt>
                      <c:pt idx="5">
                        <c:v>Indemnité LIFB top élite 1  régional</c:v>
                      </c:pt>
                      <c:pt idx="6">
                        <c:v>Ventes volants badminton</c:v>
                      </c:pt>
                      <c:pt idx="7">
                        <c:v>Participation stagiaires badminton</c:v>
                      </c:pt>
                      <c:pt idx="8">
                        <c:v>Droits d'inscription tournoi badminton</c:v>
                      </c:pt>
                      <c:pt idx="9">
                        <c:v>Ventes tenues sportives badminton</c:v>
                      </c:pt>
                      <c:pt idx="10">
                        <c:v>Ventes tenues sportives GAM</c:v>
                      </c:pt>
                      <c:pt idx="11">
                        <c:v>Recettes diverses</c:v>
                      </c:pt>
                      <c:pt idx="12">
                        <c:v>Recette sponsoring (La Résidence)</c:v>
                      </c:pt>
                      <c:pt idx="13">
                        <c:v>Intérêts livret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ituation comptable   SH 18 19.xls.xlsx]Feuil4'!$F$3:$F$53</c15:sqref>
                        </c15:formulaRef>
                      </c:ext>
                    </c:extLst>
                    <c:numCache>
                      <c:formatCode>General</c:formatCode>
                      <c:ptCount val="14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374D-41F2-854B-E82ADD88C70D}"/>
                  </c:ext>
                </c:extLst>
              </c15:ser>
            </c15:filteredBarSeries>
          </c:ext>
        </c:extLst>
      </c:barChart>
      <c:catAx>
        <c:axId val="1354332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67252191"/>
        <c:crosses val="autoZero"/>
        <c:auto val="1"/>
        <c:lblAlgn val="ctr"/>
        <c:lblOffset val="100"/>
        <c:noMultiLvlLbl val="0"/>
      </c:catAx>
      <c:valAx>
        <c:axId val="4672521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5433231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15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1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/>
            <a:t>Rapport financier de l’année 2018-2019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/>
            <a:t>Budget de l’année 2019-2020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414797EB-74B4-4291-AF3E-06BCA64CF6B6}">
      <dgm:prSet/>
      <dgm:spPr/>
      <dgm:t>
        <a:bodyPr/>
        <a:lstStyle/>
        <a:p>
          <a:r>
            <a:rPr lang="fr-FR" dirty="0"/>
            <a:t>Questions diverses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5304307F-C466-4740-8475-DADC91075624}">
      <dgm:prSet/>
      <dgm:spPr/>
      <dgm:t>
        <a:bodyPr/>
        <a:lstStyle/>
        <a:p>
          <a:r>
            <a:rPr lang="fr-FR" dirty="0"/>
            <a:t>Les rendez-vous 2019-2020</a:t>
          </a:r>
        </a:p>
      </dgm:t>
    </dgm:pt>
    <dgm:pt modelId="{57F13D37-A893-4898-8E27-67A829686B6A}" type="parTrans" cxnId="{051A02E2-A13E-46A9-94BA-D97943568D2C}">
      <dgm:prSet/>
      <dgm:spPr/>
      <dgm:t>
        <a:bodyPr/>
        <a:lstStyle/>
        <a:p>
          <a:endParaRPr lang="fr-FR"/>
        </a:p>
      </dgm:t>
    </dgm:pt>
    <dgm:pt modelId="{2E2E54F7-C5CC-4881-AD5B-155C1DBB1F1E}" type="sibTrans" cxnId="{051A02E2-A13E-46A9-94BA-D97943568D2C}">
      <dgm:prSet/>
      <dgm:spPr/>
      <dgm:t>
        <a:bodyPr/>
        <a:lstStyle/>
        <a:p>
          <a:endParaRPr lang="fr-FR"/>
        </a:p>
      </dgm:t>
    </dgm:pt>
    <dgm:pt modelId="{101E7A29-F3DF-4860-8B42-E09637035E90}">
      <dgm:prSet phldrT="[Texte]"/>
      <dgm:spPr/>
      <dgm:t>
        <a:bodyPr/>
        <a:lstStyle/>
        <a:p>
          <a:r>
            <a:rPr lang="fr-FR" dirty="0"/>
            <a:t>Pot de l’amitié</a:t>
          </a:r>
        </a:p>
      </dgm:t>
    </dgm:pt>
    <dgm:pt modelId="{B4658C97-6CD3-4E0B-9AB8-B40E3E2DA647}" type="parTrans" cxnId="{1A60A62D-6BB2-4565-B372-8C2D558640E7}">
      <dgm:prSet/>
      <dgm:spPr/>
      <dgm:t>
        <a:bodyPr/>
        <a:lstStyle/>
        <a:p>
          <a:endParaRPr lang="fr-FR"/>
        </a:p>
      </dgm:t>
    </dgm:pt>
    <dgm:pt modelId="{A0C1A06E-B115-4E98-81FD-8C7DEBFAA458}" type="sibTrans" cxnId="{1A60A62D-6BB2-4565-B372-8C2D558640E7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7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7"/>
      <dgm:spPr/>
    </dgm:pt>
    <dgm:pt modelId="{4485BF69-EF87-4AEE-AFDF-DE2F8D2ACCD9}" type="pres">
      <dgm:prSet presAssocID="{F010CF21-4A6D-44EF-A02C-3D5169816247}" presName="dstNode" presStyleLbl="node1" presStyleIdx="0" presStyleCnt="7"/>
      <dgm:spPr/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7"/>
      <dgm:spPr/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</dgm:pt>
    <dgm:pt modelId="{0C3100F7-B06F-4D61-8952-72DDA3F196CC}" type="pres">
      <dgm:prSet presAssocID="{B9A48CF8-D428-45D1-8969-FBBF15BE7DBA}" presName="accent_2" presStyleCnt="0"/>
      <dgm:spPr/>
    </dgm:pt>
    <dgm:pt modelId="{7A113706-4115-4E46-A0DB-BB2E4C947383}" type="pres">
      <dgm:prSet presAssocID="{B9A48CF8-D428-45D1-8969-FBBF15BE7DBA}" presName="accentRepeatNode" presStyleLbl="solidFgAcc1" presStyleIdx="1" presStyleCnt="7"/>
      <dgm:spPr/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</dgm:pt>
    <dgm:pt modelId="{E9561BC4-D00A-48CE-8C8A-EEF31BA7E3DC}" type="pres">
      <dgm:prSet presAssocID="{2950704D-F612-46DF-93DB-38562274CE0A}" presName="accent_3" presStyleCnt="0"/>
      <dgm:spPr/>
    </dgm:pt>
    <dgm:pt modelId="{0692BF8D-B063-4580-8A2D-225A14481CCD}" type="pres">
      <dgm:prSet presAssocID="{2950704D-F612-46DF-93DB-38562274CE0A}" presName="accentRepeatNode" presStyleLbl="solidFgAcc1" presStyleIdx="2" presStyleCnt="7"/>
      <dgm:spPr/>
    </dgm:pt>
    <dgm:pt modelId="{A130CA03-71CB-414D-840B-5B6A74283EA0}" type="pres">
      <dgm:prSet presAssocID="{5304307F-C466-4740-8475-DADC91075624}" presName="text_4" presStyleLbl="node1" presStyleIdx="3" presStyleCnt="7">
        <dgm:presLayoutVars>
          <dgm:bulletEnabled val="1"/>
        </dgm:presLayoutVars>
      </dgm:prSet>
      <dgm:spPr/>
    </dgm:pt>
    <dgm:pt modelId="{D937CBB2-ED3F-4237-9CE7-8530AF6E9C0D}" type="pres">
      <dgm:prSet presAssocID="{5304307F-C466-4740-8475-DADC91075624}" presName="accent_4" presStyleCnt="0"/>
      <dgm:spPr/>
    </dgm:pt>
    <dgm:pt modelId="{D60F798E-526C-4126-9782-B35CCE9CE8B1}" type="pres">
      <dgm:prSet presAssocID="{5304307F-C466-4740-8475-DADC91075624}" presName="accentRepeatNode" presStyleLbl="solidFgAcc1" presStyleIdx="3" presStyleCnt="7"/>
      <dgm:spPr/>
    </dgm:pt>
    <dgm:pt modelId="{21DC1980-00DC-4CF7-95B2-732EEE3E3F6A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</dgm:pt>
    <dgm:pt modelId="{52DDB14D-B001-4BDB-B2BD-E4F4785CF4F4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7"/>
      <dgm:spPr/>
    </dgm:pt>
    <dgm:pt modelId="{71F1E747-BE18-4ED3-AE21-6C22ED2B5B44}" type="pres">
      <dgm:prSet presAssocID="{414797EB-74B4-4291-AF3E-06BCA64CF6B6}" presName="text_6" presStyleLbl="node1" presStyleIdx="5" presStyleCnt="7">
        <dgm:presLayoutVars>
          <dgm:bulletEnabled val="1"/>
        </dgm:presLayoutVars>
      </dgm:prSet>
      <dgm:spPr/>
    </dgm:pt>
    <dgm:pt modelId="{6E9CC65E-76F1-444C-8DED-741B2E3F8769}" type="pres">
      <dgm:prSet presAssocID="{414797EB-74B4-4291-AF3E-06BCA64CF6B6}" presName="accent_6" presStyleCnt="0"/>
      <dgm:spPr/>
    </dgm:pt>
    <dgm:pt modelId="{5AF5E7EE-A04D-40FC-8300-CF20EEE80831}" type="pres">
      <dgm:prSet presAssocID="{414797EB-74B4-4291-AF3E-06BCA64CF6B6}" presName="accentRepeatNode" presStyleLbl="solidFgAcc1" presStyleIdx="5" presStyleCnt="7"/>
      <dgm:spPr/>
    </dgm:pt>
    <dgm:pt modelId="{095F7C2F-A39A-43EB-A31F-1FF45A54D4DC}" type="pres">
      <dgm:prSet presAssocID="{101E7A29-F3DF-4860-8B42-E09637035E90}" presName="text_7" presStyleLbl="node1" presStyleIdx="6" presStyleCnt="7">
        <dgm:presLayoutVars>
          <dgm:bulletEnabled val="1"/>
        </dgm:presLayoutVars>
      </dgm:prSet>
      <dgm:spPr/>
    </dgm:pt>
    <dgm:pt modelId="{E6314E72-7577-4F0F-ABFD-3B8D4C898D9B}" type="pres">
      <dgm:prSet presAssocID="{101E7A29-F3DF-4860-8B42-E09637035E90}" presName="accent_7" presStyleCnt="0"/>
      <dgm:spPr/>
    </dgm:pt>
    <dgm:pt modelId="{FBAD406B-D072-44FF-B20C-12A74070C89B}" type="pres">
      <dgm:prSet presAssocID="{101E7A29-F3DF-4860-8B42-E09637035E90}" presName="accentRepeatNode" presStyleLbl="solidFgAcc1" presStyleIdx="6" presStyleCnt="7"/>
      <dgm:spPr/>
    </dgm:pt>
  </dgm:ptLst>
  <dgm:cxnLst>
    <dgm:cxn modelId="{2E6A201E-EA6B-4E11-AF80-86104107F35D}" type="presOf" srcId="{414797EB-74B4-4291-AF3E-06BCA64CF6B6}" destId="{71F1E747-BE18-4ED3-AE21-6C22ED2B5B44}" srcOrd="0" destOrd="0" presId="urn:microsoft.com/office/officeart/2008/layout/VerticalCurvedList"/>
    <dgm:cxn modelId="{EEC29124-EB80-4F12-8AFF-AC8B595E0192}" type="presOf" srcId="{2950704D-F612-46DF-93DB-38562274CE0A}" destId="{CD0934E8-FFC7-4C4F-89BE-AC8E748C473B}" srcOrd="0" destOrd="0" presId="urn:microsoft.com/office/officeart/2008/layout/VerticalCurvedList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CA3C202C-03DC-414C-96AB-801EDBB35DBC}" type="presOf" srcId="{5304307F-C466-4740-8475-DADC91075624}" destId="{A130CA03-71CB-414D-840B-5B6A74283EA0}" srcOrd="0" destOrd="0" presId="urn:microsoft.com/office/officeart/2008/layout/VerticalCurvedList"/>
    <dgm:cxn modelId="{0281512C-E79C-4333-9D56-2A66E949228F}" srcId="{F010CF21-4A6D-44EF-A02C-3D5169816247}" destId="{414797EB-74B4-4291-AF3E-06BCA64CF6B6}" srcOrd="5" destOrd="0" parTransId="{D9EEC982-6F8E-415B-9E6B-101927331BD8}" sibTransId="{3124CA87-5240-449D-93B8-646AA320F84C}"/>
    <dgm:cxn modelId="{1A60A62D-6BB2-4565-B372-8C2D558640E7}" srcId="{F010CF21-4A6D-44EF-A02C-3D5169816247}" destId="{101E7A29-F3DF-4860-8B42-E09637035E90}" srcOrd="6" destOrd="0" parTransId="{B4658C97-6CD3-4E0B-9AB8-B40E3E2DA647}" sibTransId="{A0C1A06E-B115-4E98-81FD-8C7DEBFAA458}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CFED395B-78F0-446A-ACC6-972111EC5033}" type="presOf" srcId="{B9A48CF8-D428-45D1-8969-FBBF15BE7DBA}" destId="{B33E6E9D-CEE0-4253-A8E7-0BD98EFB662C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66A5A6BD-4F0A-43B2-B4CC-FDEA3D0B93E9}" type="presOf" srcId="{101E7A29-F3DF-4860-8B42-E09637035E90}" destId="{095F7C2F-A39A-43EB-A31F-1FF45A54D4DC}" srcOrd="0" destOrd="0" presId="urn:microsoft.com/office/officeart/2008/layout/VerticalCurvedList"/>
    <dgm:cxn modelId="{951EF2D1-FE58-4F1C-B2B8-BB0DE52CDA46}" type="presOf" srcId="{445F633E-575C-4AF5-92DD-A71CC7C927A2}" destId="{21DC1980-00DC-4CF7-95B2-732EEE3E3F6A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051A02E2-A13E-46A9-94BA-D97943568D2C}" srcId="{F010CF21-4A6D-44EF-A02C-3D5169816247}" destId="{5304307F-C466-4740-8475-DADC91075624}" srcOrd="3" destOrd="0" parTransId="{57F13D37-A893-4898-8E27-67A829686B6A}" sibTransId="{2E2E54F7-C5CC-4881-AD5B-155C1DBB1F1E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80C35DAC-CBFB-4E5C-9F8F-ED6B6AC1A088}" type="presParOf" srcId="{43AFC4E7-46DA-4B7B-B201-0A406A05CAD2}" destId="{B33E6E9D-CEE0-4253-A8E7-0BD98EFB662C}" srcOrd="3" destOrd="0" presId="urn:microsoft.com/office/officeart/2008/layout/VerticalCurvedList"/>
    <dgm:cxn modelId="{BC7448D4-5FAE-4FE9-A263-DFE11F461FA0}" type="presParOf" srcId="{43AFC4E7-46DA-4B7B-B201-0A406A05CAD2}" destId="{0C3100F7-B06F-4D61-8952-72DDA3F196CC}" srcOrd="4" destOrd="0" presId="urn:microsoft.com/office/officeart/2008/layout/VerticalCurvedList"/>
    <dgm:cxn modelId="{69E5BCA8-649E-45D6-B7EE-52A904BB1E9A}" type="presParOf" srcId="{0C3100F7-B06F-4D61-8952-72DDA3F196CC}" destId="{7A113706-4115-4E46-A0DB-BB2E4C947383}" srcOrd="0" destOrd="0" presId="urn:microsoft.com/office/officeart/2008/layout/VerticalCurvedList"/>
    <dgm:cxn modelId="{94030337-B533-4D55-93FB-0638FF634A8E}" type="presParOf" srcId="{43AFC4E7-46DA-4B7B-B201-0A406A05CAD2}" destId="{CD0934E8-FFC7-4C4F-89BE-AC8E748C473B}" srcOrd="5" destOrd="0" presId="urn:microsoft.com/office/officeart/2008/layout/VerticalCurvedList"/>
    <dgm:cxn modelId="{3068500E-4AE6-4012-B329-3CEDB4986D2B}" type="presParOf" srcId="{43AFC4E7-46DA-4B7B-B201-0A406A05CAD2}" destId="{E9561BC4-D00A-48CE-8C8A-EEF31BA7E3DC}" srcOrd="6" destOrd="0" presId="urn:microsoft.com/office/officeart/2008/layout/VerticalCurvedList"/>
    <dgm:cxn modelId="{3EBB3BD1-9955-4678-9878-D7F0379BB321}" type="presParOf" srcId="{E9561BC4-D00A-48CE-8C8A-EEF31BA7E3DC}" destId="{0692BF8D-B063-4580-8A2D-225A14481CCD}" srcOrd="0" destOrd="0" presId="urn:microsoft.com/office/officeart/2008/layout/VerticalCurvedList"/>
    <dgm:cxn modelId="{20BAB0F8-3D1C-4E16-9625-D13E48746E83}" type="presParOf" srcId="{43AFC4E7-46DA-4B7B-B201-0A406A05CAD2}" destId="{A130CA03-71CB-414D-840B-5B6A74283EA0}" srcOrd="7" destOrd="0" presId="urn:microsoft.com/office/officeart/2008/layout/VerticalCurvedList"/>
    <dgm:cxn modelId="{67262A83-8B8E-4A4B-8C6C-9C292F5A8586}" type="presParOf" srcId="{43AFC4E7-46DA-4B7B-B201-0A406A05CAD2}" destId="{D937CBB2-ED3F-4237-9CE7-8530AF6E9C0D}" srcOrd="8" destOrd="0" presId="urn:microsoft.com/office/officeart/2008/layout/VerticalCurvedList"/>
    <dgm:cxn modelId="{7751C83B-3E5D-4AEA-99DD-865FE86EDBD2}" type="presParOf" srcId="{D937CBB2-ED3F-4237-9CE7-8530AF6E9C0D}" destId="{D60F798E-526C-4126-9782-B35CCE9CE8B1}" srcOrd="0" destOrd="0" presId="urn:microsoft.com/office/officeart/2008/layout/VerticalCurvedList"/>
    <dgm:cxn modelId="{7A19E96A-DDDD-46B7-AE78-C549CCB96C8B}" type="presParOf" srcId="{43AFC4E7-46DA-4B7B-B201-0A406A05CAD2}" destId="{21DC1980-00DC-4CF7-95B2-732EEE3E3F6A}" srcOrd="9" destOrd="0" presId="urn:microsoft.com/office/officeart/2008/layout/VerticalCurvedList"/>
    <dgm:cxn modelId="{80666BF2-C987-4064-AB37-458FBB483E70}" type="presParOf" srcId="{43AFC4E7-46DA-4B7B-B201-0A406A05CAD2}" destId="{52DDB14D-B001-4BDB-B2BD-E4F4785CF4F4}" srcOrd="10" destOrd="0" presId="urn:microsoft.com/office/officeart/2008/layout/VerticalCurvedList"/>
    <dgm:cxn modelId="{047EC53C-7792-4180-A36A-C3661F9B0960}" type="presParOf" srcId="{52DDB14D-B001-4BDB-B2BD-E4F4785CF4F4}" destId="{1CAC461D-769E-43F1-85D8-A86E37EE9368}" srcOrd="0" destOrd="0" presId="urn:microsoft.com/office/officeart/2008/layout/VerticalCurvedList"/>
    <dgm:cxn modelId="{00708641-975D-42C9-96F8-799F428FD891}" type="presParOf" srcId="{43AFC4E7-46DA-4B7B-B201-0A406A05CAD2}" destId="{71F1E747-BE18-4ED3-AE21-6C22ED2B5B44}" srcOrd="11" destOrd="0" presId="urn:microsoft.com/office/officeart/2008/layout/VerticalCurvedList"/>
    <dgm:cxn modelId="{A9A14EA1-761C-4C2F-BFA6-BA2B2537EEE6}" type="presParOf" srcId="{43AFC4E7-46DA-4B7B-B201-0A406A05CAD2}" destId="{6E9CC65E-76F1-444C-8DED-741B2E3F8769}" srcOrd="12" destOrd="0" presId="urn:microsoft.com/office/officeart/2008/layout/VerticalCurvedList"/>
    <dgm:cxn modelId="{A4FC9E3E-C3D9-498C-B543-A8B31E645BA4}" type="presParOf" srcId="{6E9CC65E-76F1-444C-8DED-741B2E3F8769}" destId="{5AF5E7EE-A04D-40FC-8300-CF20EEE80831}" srcOrd="0" destOrd="0" presId="urn:microsoft.com/office/officeart/2008/layout/VerticalCurvedList"/>
    <dgm:cxn modelId="{257B611D-FE6A-45E3-A7C3-A3540B45B29A}" type="presParOf" srcId="{43AFC4E7-46DA-4B7B-B201-0A406A05CAD2}" destId="{095F7C2F-A39A-43EB-A31F-1FF45A54D4DC}" srcOrd="13" destOrd="0" presId="urn:microsoft.com/office/officeart/2008/layout/VerticalCurvedList"/>
    <dgm:cxn modelId="{54FADFC1-F9EF-41EE-A689-A298F5209D58}" type="presParOf" srcId="{43AFC4E7-46DA-4B7B-B201-0A406A05CAD2}" destId="{E6314E72-7577-4F0F-ABFD-3B8D4C898D9B}" srcOrd="14" destOrd="0" presId="urn:microsoft.com/office/officeart/2008/layout/VerticalCurvedList"/>
    <dgm:cxn modelId="{3AF59CD5-314F-48F1-A919-E53F0289846F}" type="presParOf" srcId="{E6314E72-7577-4F0F-ABFD-3B8D4C898D9B}" destId="{FBAD406B-D072-44FF-B20C-12A74070C89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B03CF0E-FEA8-4859-918D-9805BDB59610}" type="doc">
      <dgm:prSet loTypeId="urn:microsoft.com/office/officeart/2005/8/layout/h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2595C9AD-CC1A-4C7F-B0D8-CC5A1B98064E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CB1B262F-F9A6-496F-A4DB-86F4829819A3}" type="parTrans" cxnId="{4D91A7EA-841A-48C4-A95E-1CFEFF8E1D09}">
      <dgm:prSet/>
      <dgm:spPr/>
      <dgm:t>
        <a:bodyPr/>
        <a:lstStyle/>
        <a:p>
          <a:endParaRPr lang="fr-FR"/>
        </a:p>
      </dgm:t>
    </dgm:pt>
    <dgm:pt modelId="{59682239-565E-4215-9C00-5409EB9713E8}" type="sibTrans" cxnId="{4D91A7EA-841A-48C4-A95E-1CFEFF8E1D09}">
      <dgm:prSet/>
      <dgm:spPr/>
      <dgm:t>
        <a:bodyPr/>
        <a:lstStyle/>
        <a:p>
          <a:endParaRPr lang="fr-FR"/>
        </a:p>
      </dgm:t>
    </dgm:pt>
    <dgm:pt modelId="{E06B3976-0B58-41BF-A307-220F72DD6781}">
      <dgm:prSet phldrT="[Texte]" custT="1"/>
      <dgm:spPr/>
      <dgm:t>
        <a:bodyPr/>
        <a:lstStyle/>
        <a:p>
          <a:r>
            <a:rPr lang="fr-FR" sz="1400" dirty="0"/>
            <a:t>Poursuivre l’optimisation du fonctionnement du CA</a:t>
          </a:r>
        </a:p>
      </dgm:t>
    </dgm:pt>
    <dgm:pt modelId="{6764EB74-1E73-470E-85F0-E088E8AF2D72}" type="parTrans" cxnId="{382892B8-B9B6-4A26-927B-3E38AD2B64C0}">
      <dgm:prSet/>
      <dgm:spPr/>
      <dgm:t>
        <a:bodyPr/>
        <a:lstStyle/>
        <a:p>
          <a:endParaRPr lang="fr-FR"/>
        </a:p>
      </dgm:t>
    </dgm:pt>
    <dgm:pt modelId="{680541D5-369B-4BAC-9469-F7796ADA8A12}" type="sibTrans" cxnId="{382892B8-B9B6-4A26-927B-3E38AD2B64C0}">
      <dgm:prSet/>
      <dgm:spPr/>
      <dgm:t>
        <a:bodyPr/>
        <a:lstStyle/>
        <a:p>
          <a:endParaRPr lang="fr-FR"/>
        </a:p>
      </dgm:t>
    </dgm:pt>
    <dgm:pt modelId="{5CF59008-0D9E-4C5C-A75C-C5872D386964}">
      <dgm:prSet phldrT="[Texte]" custT="1"/>
      <dgm:spPr/>
      <dgm:t>
        <a:bodyPr/>
        <a:lstStyle/>
        <a:p>
          <a:r>
            <a:rPr lang="fr-FR" sz="1800" dirty="0"/>
            <a:t>Développer la compétition</a:t>
          </a:r>
        </a:p>
      </dgm:t>
    </dgm:pt>
    <dgm:pt modelId="{C6500813-0B0B-4F41-B547-92267C55EF80}" type="parTrans" cxnId="{EB192724-64FB-4DF7-9761-8DF8B7344E0A}">
      <dgm:prSet/>
      <dgm:spPr/>
      <dgm:t>
        <a:bodyPr/>
        <a:lstStyle/>
        <a:p>
          <a:endParaRPr lang="fr-FR"/>
        </a:p>
      </dgm:t>
    </dgm:pt>
    <dgm:pt modelId="{7B90745E-445A-4407-BCDA-C96C551F98C8}" type="sibTrans" cxnId="{EB192724-64FB-4DF7-9761-8DF8B7344E0A}">
      <dgm:prSet/>
      <dgm:spPr/>
      <dgm:t>
        <a:bodyPr/>
        <a:lstStyle/>
        <a:p>
          <a:endParaRPr lang="fr-FR"/>
        </a:p>
      </dgm:t>
    </dgm:pt>
    <dgm:pt modelId="{FD7B4089-08F5-4F1A-862E-3A11A01CC3C8}">
      <dgm:prSet phldrT="[Texte]" custT="1"/>
      <dgm:spPr/>
      <dgm:t>
        <a:bodyPr/>
        <a:lstStyle/>
        <a:p>
          <a:r>
            <a:rPr lang="fr-FR" sz="1400" dirty="0"/>
            <a:t>Administrer et faire vivre le site Web et la page </a:t>
          </a:r>
          <a:r>
            <a:rPr lang="fr-FR" sz="1400" dirty="0" err="1"/>
            <a:t>Facebook</a:t>
          </a:r>
          <a:endParaRPr lang="fr-FR" sz="1400" dirty="0"/>
        </a:p>
      </dgm:t>
    </dgm:pt>
    <dgm:pt modelId="{8B30FCCB-73DA-4232-9B25-BA877E2B0576}" type="parTrans" cxnId="{4313A1A5-6F89-454A-8108-CE50BFFE4EDB}">
      <dgm:prSet/>
      <dgm:spPr/>
      <dgm:t>
        <a:bodyPr/>
        <a:lstStyle/>
        <a:p>
          <a:endParaRPr lang="fr-FR"/>
        </a:p>
      </dgm:t>
    </dgm:pt>
    <dgm:pt modelId="{D91891E4-DD42-4E2D-8012-55B1EA027692}" type="sibTrans" cxnId="{4313A1A5-6F89-454A-8108-CE50BFFE4EDB}">
      <dgm:prSet/>
      <dgm:spPr/>
      <dgm:t>
        <a:bodyPr/>
        <a:lstStyle/>
        <a:p>
          <a:endParaRPr lang="fr-FR"/>
        </a:p>
      </dgm:t>
    </dgm:pt>
    <dgm:pt modelId="{66B53DBF-8335-4235-80C1-00F99356BF78}">
      <dgm:prSet phldrT="[Texte]" custT="1"/>
      <dgm:spPr/>
      <dgm:t>
        <a:bodyPr/>
        <a:lstStyle/>
        <a:p>
          <a:r>
            <a:rPr lang="fr-FR" sz="1400" dirty="0"/>
            <a:t>Encourager la formation interne</a:t>
          </a:r>
        </a:p>
      </dgm:t>
    </dgm:pt>
    <dgm:pt modelId="{C4B6BD43-491E-499E-BFFD-2824DE10C045}" type="parTrans" cxnId="{BF5EB612-3ECD-43F6-B537-7BC75C94B6FD}">
      <dgm:prSet/>
      <dgm:spPr/>
      <dgm:t>
        <a:bodyPr/>
        <a:lstStyle/>
        <a:p>
          <a:endParaRPr lang="fr-FR"/>
        </a:p>
      </dgm:t>
    </dgm:pt>
    <dgm:pt modelId="{D53FC8CD-D782-4286-9AA3-28BB244A2871}" type="sibTrans" cxnId="{BF5EB612-3ECD-43F6-B537-7BC75C94B6FD}">
      <dgm:prSet/>
      <dgm:spPr/>
      <dgm:t>
        <a:bodyPr/>
        <a:lstStyle/>
        <a:p>
          <a:endParaRPr lang="fr-FR"/>
        </a:p>
      </dgm:t>
    </dgm:pt>
    <dgm:pt modelId="{A467EB82-4A86-4321-932A-BC71C5A9A799}">
      <dgm:prSet custT="1"/>
      <dgm:spPr/>
      <dgm:t>
        <a:bodyPr/>
        <a:lstStyle/>
        <a:p>
          <a:r>
            <a:rPr lang="fr-FR" sz="1400" dirty="0"/>
            <a:t>Développer le partenariat avec notre sponsor</a:t>
          </a:r>
        </a:p>
      </dgm:t>
    </dgm:pt>
    <dgm:pt modelId="{3EFC4B38-06B1-4279-9AE7-46F0FD610724}" type="parTrans" cxnId="{5809C2F5-5960-4EFF-A6DB-EB234DC923E4}">
      <dgm:prSet/>
      <dgm:spPr/>
      <dgm:t>
        <a:bodyPr/>
        <a:lstStyle/>
        <a:p>
          <a:endParaRPr lang="fr-FR"/>
        </a:p>
      </dgm:t>
    </dgm:pt>
    <dgm:pt modelId="{7B77D74D-9DA5-4258-9FE0-EC7C1232245B}" type="sibTrans" cxnId="{5809C2F5-5960-4EFF-A6DB-EB234DC923E4}">
      <dgm:prSet/>
      <dgm:spPr/>
      <dgm:t>
        <a:bodyPr/>
        <a:lstStyle/>
        <a:p>
          <a:endParaRPr lang="fr-FR"/>
        </a:p>
      </dgm:t>
    </dgm:pt>
    <dgm:pt modelId="{9F40E5E0-78B2-4FC9-A96D-A3696CDB690E}">
      <dgm:prSet phldrT="[Texte]" custT="1"/>
      <dgm:spPr/>
      <dgm:t>
        <a:bodyPr/>
        <a:lstStyle/>
        <a:p>
          <a:r>
            <a:rPr lang="fr-FR" sz="1600" b="1" dirty="0"/>
            <a:t>Avoir 75 adhérents en GAM</a:t>
          </a:r>
        </a:p>
      </dgm:t>
    </dgm:pt>
    <dgm:pt modelId="{7128D2E1-5E72-4415-BC20-F62A578B3182}" type="parTrans" cxnId="{B8D845A8-08C4-4ACB-A762-E8B02A32360E}">
      <dgm:prSet/>
      <dgm:spPr/>
      <dgm:t>
        <a:bodyPr/>
        <a:lstStyle/>
        <a:p>
          <a:endParaRPr lang="fr-FR"/>
        </a:p>
      </dgm:t>
    </dgm:pt>
    <dgm:pt modelId="{C54E64E1-F017-4379-BEF7-69295867A7DA}" type="sibTrans" cxnId="{B8D845A8-08C4-4ACB-A762-E8B02A32360E}">
      <dgm:prSet/>
      <dgm:spPr/>
      <dgm:t>
        <a:bodyPr/>
        <a:lstStyle/>
        <a:p>
          <a:endParaRPr lang="fr-FR"/>
        </a:p>
      </dgm:t>
    </dgm:pt>
    <dgm:pt modelId="{967D03B3-A4F1-4D29-A7F3-99703CDA2F37}">
      <dgm:prSet custT="1"/>
      <dgm:spPr/>
      <dgm:t>
        <a:bodyPr/>
        <a:lstStyle/>
        <a:p>
          <a:r>
            <a:rPr lang="fr-FR" sz="1800" dirty="0"/>
            <a:t>Faire 2 tournois internes.</a:t>
          </a:r>
        </a:p>
      </dgm:t>
    </dgm:pt>
    <dgm:pt modelId="{F5672D5E-CE21-4311-AE40-47FE7DFDED50}" type="parTrans" cxnId="{D04ED7FD-6781-402F-A365-AF22646E093F}">
      <dgm:prSet/>
      <dgm:spPr/>
      <dgm:t>
        <a:bodyPr/>
        <a:lstStyle/>
        <a:p>
          <a:endParaRPr lang="fr-FR"/>
        </a:p>
      </dgm:t>
    </dgm:pt>
    <dgm:pt modelId="{25FC829F-B590-45A7-B832-FF75D2F6A5E4}" type="sibTrans" cxnId="{D04ED7FD-6781-402F-A365-AF22646E093F}">
      <dgm:prSet/>
      <dgm:spPr/>
      <dgm:t>
        <a:bodyPr/>
        <a:lstStyle/>
        <a:p>
          <a:endParaRPr lang="fr-FR"/>
        </a:p>
      </dgm:t>
    </dgm:pt>
    <dgm:pt modelId="{DEFD2ED6-156E-4F43-84C2-AC89950F1718}">
      <dgm:prSet custT="1"/>
      <dgm:spPr/>
      <dgm:t>
        <a:bodyPr/>
        <a:lstStyle/>
        <a:p>
          <a:r>
            <a:rPr lang="fr-FR" sz="1800" dirty="0"/>
            <a:t>Améliorer le classement des jeunes.</a:t>
          </a:r>
        </a:p>
      </dgm:t>
    </dgm:pt>
    <dgm:pt modelId="{4A8FC8F1-9B29-4215-A42F-2C0BF57C5F5F}" type="parTrans" cxnId="{3167F58B-8AAE-4D39-A174-1E873382ED8C}">
      <dgm:prSet/>
      <dgm:spPr/>
      <dgm:t>
        <a:bodyPr/>
        <a:lstStyle/>
        <a:p>
          <a:endParaRPr lang="fr-FR"/>
        </a:p>
      </dgm:t>
    </dgm:pt>
    <dgm:pt modelId="{0283FF12-5E3B-49F6-89DF-E9CFB87A7414}" type="sibTrans" cxnId="{3167F58B-8AAE-4D39-A174-1E873382ED8C}">
      <dgm:prSet/>
      <dgm:spPr/>
      <dgm:t>
        <a:bodyPr/>
        <a:lstStyle/>
        <a:p>
          <a:endParaRPr lang="fr-FR"/>
        </a:p>
      </dgm:t>
    </dgm:pt>
    <dgm:pt modelId="{A712EF0F-43B9-4CC9-B290-EA04F6AC96EF}">
      <dgm:prSet custT="1"/>
      <dgm:spPr/>
      <dgm:t>
        <a:bodyPr/>
        <a:lstStyle/>
        <a:p>
          <a:r>
            <a:rPr lang="fr-FR" sz="1800" dirty="0"/>
            <a:t>Renforcer le lien avec les Etablissements scolaires</a:t>
          </a:r>
        </a:p>
      </dgm:t>
    </dgm:pt>
    <dgm:pt modelId="{C4C528C4-D893-44F9-B676-A9CF49E95AC7}" type="parTrans" cxnId="{40BA128A-8DEA-42B8-A0DF-872B39358108}">
      <dgm:prSet/>
      <dgm:spPr/>
      <dgm:t>
        <a:bodyPr/>
        <a:lstStyle/>
        <a:p>
          <a:endParaRPr lang="fr-FR"/>
        </a:p>
      </dgm:t>
    </dgm:pt>
    <dgm:pt modelId="{50C3A2D9-1498-48A7-8BE5-C1AFF7F7A3DF}" type="sibTrans" cxnId="{40BA128A-8DEA-42B8-A0DF-872B39358108}">
      <dgm:prSet/>
      <dgm:spPr/>
      <dgm:t>
        <a:bodyPr/>
        <a:lstStyle/>
        <a:p>
          <a:endParaRPr lang="fr-FR"/>
        </a:p>
      </dgm:t>
    </dgm:pt>
    <dgm:pt modelId="{9F9786ED-9BCD-4009-A8E3-1230F4E1BCBA}">
      <dgm:prSet custT="1"/>
      <dgm:spPr/>
      <dgm:t>
        <a:bodyPr/>
        <a:lstStyle/>
        <a:p>
          <a:r>
            <a:rPr lang="fr-FR" sz="1600" b="1" dirty="0"/>
            <a:t>Avoir 12 adhérents en Mini Gym</a:t>
          </a:r>
        </a:p>
      </dgm:t>
    </dgm:pt>
    <dgm:pt modelId="{1506F748-2997-40A8-86E5-0E5514AB0DEF}" type="parTrans" cxnId="{204EDEFA-C4BD-4DAA-BFFA-5268250381B4}">
      <dgm:prSet/>
      <dgm:spPr/>
      <dgm:t>
        <a:bodyPr/>
        <a:lstStyle/>
        <a:p>
          <a:endParaRPr lang="fr-FR"/>
        </a:p>
      </dgm:t>
    </dgm:pt>
    <dgm:pt modelId="{0BFBDCF2-061E-4892-B82F-C626D2888044}" type="sibTrans" cxnId="{204EDEFA-C4BD-4DAA-BFFA-5268250381B4}">
      <dgm:prSet/>
      <dgm:spPr/>
      <dgm:t>
        <a:bodyPr/>
        <a:lstStyle/>
        <a:p>
          <a:endParaRPr lang="fr-FR"/>
        </a:p>
      </dgm:t>
    </dgm:pt>
    <dgm:pt modelId="{1F4AF0B5-0FD3-4E5D-9DED-D29283982A6B}">
      <dgm:prSet custT="1"/>
      <dgm:spPr/>
      <dgm:t>
        <a:bodyPr/>
        <a:lstStyle/>
        <a:p>
          <a:r>
            <a:rPr lang="fr-FR" sz="1600" b="1" dirty="0"/>
            <a:t>Développer les compétitions</a:t>
          </a:r>
        </a:p>
      </dgm:t>
    </dgm:pt>
    <dgm:pt modelId="{50D0EB9B-FDBE-4EEC-94EE-220A372E2ECE}" type="parTrans" cxnId="{42D7DA26-D46E-4885-B063-C56DB830A708}">
      <dgm:prSet/>
      <dgm:spPr/>
      <dgm:t>
        <a:bodyPr/>
        <a:lstStyle/>
        <a:p>
          <a:endParaRPr lang="fr-FR"/>
        </a:p>
      </dgm:t>
    </dgm:pt>
    <dgm:pt modelId="{DB3DB766-0392-47CF-A562-0ED091A55D72}" type="sibTrans" cxnId="{42D7DA26-D46E-4885-B063-C56DB830A708}">
      <dgm:prSet/>
      <dgm:spPr/>
      <dgm:t>
        <a:bodyPr/>
        <a:lstStyle/>
        <a:p>
          <a:endParaRPr lang="fr-FR"/>
        </a:p>
      </dgm:t>
    </dgm:pt>
    <dgm:pt modelId="{312A3F94-EAFE-438A-8B63-C8508B051EC5}">
      <dgm:prSet custT="1"/>
      <dgm:spPr/>
      <dgm:t>
        <a:bodyPr/>
        <a:lstStyle/>
        <a:p>
          <a:r>
            <a:rPr lang="fr-FR" sz="1600" b="1" dirty="0"/>
            <a:t>Améliorer les conditions matérielles de pratique </a:t>
          </a:r>
        </a:p>
      </dgm:t>
    </dgm:pt>
    <dgm:pt modelId="{2F879958-63AC-46D3-9B97-432BDD76902E}" type="parTrans" cxnId="{18F04C6B-171A-4C3F-969E-B775868CA2CC}">
      <dgm:prSet/>
      <dgm:spPr/>
      <dgm:t>
        <a:bodyPr/>
        <a:lstStyle/>
        <a:p>
          <a:endParaRPr lang="fr-FR"/>
        </a:p>
      </dgm:t>
    </dgm:pt>
    <dgm:pt modelId="{FAF388BF-1F89-40AF-9B18-35E44D255BD5}" type="sibTrans" cxnId="{18F04C6B-171A-4C3F-969E-B775868CA2CC}">
      <dgm:prSet/>
      <dgm:spPr/>
      <dgm:t>
        <a:bodyPr/>
        <a:lstStyle/>
        <a:p>
          <a:endParaRPr lang="fr-FR"/>
        </a:p>
      </dgm:t>
    </dgm:pt>
    <dgm:pt modelId="{799C6A42-FCD9-417E-A792-EC33C27C79AA}">
      <dgm:prSet/>
      <dgm:spPr/>
      <dgm:t>
        <a:bodyPr/>
        <a:lstStyle/>
        <a:p>
          <a:endParaRPr lang="fr-FR" dirty="0"/>
        </a:p>
      </dgm:t>
    </dgm:pt>
    <dgm:pt modelId="{EEFB254B-631B-4F39-9D17-C04BA1DB725E}" type="parTrans" cxnId="{02914E60-BD75-444F-AFB0-2510FCF9D187}">
      <dgm:prSet/>
      <dgm:spPr/>
      <dgm:t>
        <a:bodyPr/>
        <a:lstStyle/>
        <a:p>
          <a:endParaRPr lang="fr-FR"/>
        </a:p>
      </dgm:t>
    </dgm:pt>
    <dgm:pt modelId="{6343FC9A-5016-4598-88C7-CBCE4A14EDD6}" type="sibTrans" cxnId="{02914E60-BD75-444F-AFB0-2510FCF9D187}">
      <dgm:prSet/>
      <dgm:spPr/>
      <dgm:t>
        <a:bodyPr/>
        <a:lstStyle/>
        <a:p>
          <a:endParaRPr lang="fr-FR"/>
        </a:p>
      </dgm:t>
    </dgm:pt>
    <dgm:pt modelId="{668C2D20-52A6-4EE6-B919-267266943361}">
      <dgm:prSet/>
      <dgm:spPr/>
      <dgm:t>
        <a:bodyPr/>
        <a:lstStyle/>
        <a:p>
          <a:endParaRPr lang="fr-FR" dirty="0"/>
        </a:p>
      </dgm:t>
    </dgm:pt>
    <dgm:pt modelId="{63A0C8DB-4ABE-41B2-8362-43606D7680CC}" type="parTrans" cxnId="{734B1A3F-EC41-4129-9BBF-32333D06F126}">
      <dgm:prSet/>
      <dgm:spPr/>
      <dgm:t>
        <a:bodyPr/>
        <a:lstStyle/>
        <a:p>
          <a:endParaRPr lang="fr-FR"/>
        </a:p>
      </dgm:t>
    </dgm:pt>
    <dgm:pt modelId="{4A97275B-7DD0-45DA-9B11-79D95EAE2AE4}" type="sibTrans" cxnId="{734B1A3F-EC41-4129-9BBF-32333D06F126}">
      <dgm:prSet/>
      <dgm:spPr/>
      <dgm:t>
        <a:bodyPr/>
        <a:lstStyle/>
        <a:p>
          <a:endParaRPr lang="fr-FR"/>
        </a:p>
      </dgm:t>
    </dgm:pt>
    <dgm:pt modelId="{1CD2E059-9BD9-455E-861B-CA8D7241E231}">
      <dgm:prSet phldrT="[Texte]" custT="1"/>
      <dgm:spPr/>
      <dgm:t>
        <a:bodyPr/>
        <a:lstStyle/>
        <a:p>
          <a:r>
            <a:rPr lang="fr-FR" sz="1400" dirty="0"/>
            <a:t>Encourager la consultation des informations sur le site et sur FB</a:t>
          </a:r>
        </a:p>
      </dgm:t>
    </dgm:pt>
    <dgm:pt modelId="{1B334754-38C1-43BE-89BD-E850B1D42D66}" type="parTrans" cxnId="{EC196AF1-B303-4A8C-91FC-A0A47A3303EC}">
      <dgm:prSet/>
      <dgm:spPr/>
      <dgm:t>
        <a:bodyPr/>
        <a:lstStyle/>
        <a:p>
          <a:endParaRPr lang="fr-FR"/>
        </a:p>
      </dgm:t>
    </dgm:pt>
    <dgm:pt modelId="{666089D8-8CDB-4B58-ADC7-6CBA39859C78}" type="sibTrans" cxnId="{EC196AF1-B303-4A8C-91FC-A0A47A3303EC}">
      <dgm:prSet/>
      <dgm:spPr/>
      <dgm:t>
        <a:bodyPr/>
        <a:lstStyle/>
        <a:p>
          <a:endParaRPr lang="fr-FR"/>
        </a:p>
      </dgm:t>
    </dgm:pt>
    <dgm:pt modelId="{B20B4A82-BE34-4C6F-BBA8-BEF5C59EFF02}">
      <dgm:prSet custT="1"/>
      <dgm:spPr/>
      <dgm:t>
        <a:bodyPr/>
        <a:lstStyle/>
        <a:p>
          <a:r>
            <a:rPr lang="fr-FR" sz="1400" dirty="0"/>
            <a:t>Investir sur des tenues club</a:t>
          </a:r>
        </a:p>
      </dgm:t>
    </dgm:pt>
    <dgm:pt modelId="{81EC6AEF-36BA-4D18-93AA-C8A2F7A38026}" type="parTrans" cxnId="{A37001A4-1E25-4E8E-AF28-65ADCF4CE8AB}">
      <dgm:prSet/>
      <dgm:spPr/>
      <dgm:t>
        <a:bodyPr/>
        <a:lstStyle/>
        <a:p>
          <a:endParaRPr lang="fr-FR"/>
        </a:p>
      </dgm:t>
    </dgm:pt>
    <dgm:pt modelId="{EB3111E0-041D-47EB-B8B0-564B90892502}" type="sibTrans" cxnId="{A37001A4-1E25-4E8E-AF28-65ADCF4CE8AB}">
      <dgm:prSet/>
      <dgm:spPr/>
      <dgm:t>
        <a:bodyPr/>
        <a:lstStyle/>
        <a:p>
          <a:endParaRPr lang="fr-FR"/>
        </a:p>
      </dgm:t>
    </dgm:pt>
    <dgm:pt modelId="{A94B12ED-782D-4C7D-8132-E53E8EC3360B}" type="pres">
      <dgm:prSet presAssocID="{4B03CF0E-FEA8-4859-918D-9805BDB59610}" presName="linearFlow" presStyleCnt="0">
        <dgm:presLayoutVars>
          <dgm:dir/>
          <dgm:animLvl val="lvl"/>
          <dgm:resizeHandles/>
        </dgm:presLayoutVars>
      </dgm:prSet>
      <dgm:spPr/>
    </dgm:pt>
    <dgm:pt modelId="{9C7CDC1B-52FA-4E21-BBA3-F418AACF2BB7}" type="pres">
      <dgm:prSet presAssocID="{2595C9AD-CC1A-4C7F-B0D8-CC5A1B98064E}" presName="compositeNode" presStyleCnt="0">
        <dgm:presLayoutVars>
          <dgm:bulletEnabled val="1"/>
        </dgm:presLayoutVars>
      </dgm:prSet>
      <dgm:spPr/>
    </dgm:pt>
    <dgm:pt modelId="{7451B013-D031-4EAB-8179-2C342626A04E}" type="pres">
      <dgm:prSet presAssocID="{2595C9AD-CC1A-4C7F-B0D8-CC5A1B98064E}" presName="image" presStyleLbl="fgImgPlace1" presStyleIdx="0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47EC222F-D8FC-43D8-8314-E4F633EC6C92}" type="pres">
      <dgm:prSet presAssocID="{2595C9AD-CC1A-4C7F-B0D8-CC5A1B98064E}" presName="childNode" presStyleLbl="node1" presStyleIdx="0" presStyleCnt="3">
        <dgm:presLayoutVars>
          <dgm:bulletEnabled val="1"/>
        </dgm:presLayoutVars>
      </dgm:prSet>
      <dgm:spPr/>
    </dgm:pt>
    <dgm:pt modelId="{25F6BEF7-73A3-4FCE-88E9-13D2D906E9FD}" type="pres">
      <dgm:prSet presAssocID="{2595C9AD-CC1A-4C7F-B0D8-CC5A1B98064E}" presName="parentNode" presStyleLbl="revTx" presStyleIdx="0" presStyleCnt="3">
        <dgm:presLayoutVars>
          <dgm:chMax val="0"/>
          <dgm:bulletEnabled val="1"/>
        </dgm:presLayoutVars>
      </dgm:prSet>
      <dgm:spPr/>
    </dgm:pt>
    <dgm:pt modelId="{B441F14B-E3C7-4F13-B014-56FE1E5F20D3}" type="pres">
      <dgm:prSet presAssocID="{59682239-565E-4215-9C00-5409EB9713E8}" presName="sibTrans" presStyleCnt="0"/>
      <dgm:spPr/>
    </dgm:pt>
    <dgm:pt modelId="{38E6853F-328E-4B37-9E32-6AC5946A206D}" type="pres">
      <dgm:prSet presAssocID="{799C6A42-FCD9-417E-A792-EC33C27C79AA}" presName="compositeNode" presStyleCnt="0">
        <dgm:presLayoutVars>
          <dgm:bulletEnabled val="1"/>
        </dgm:presLayoutVars>
      </dgm:prSet>
      <dgm:spPr/>
    </dgm:pt>
    <dgm:pt modelId="{7771BBF3-5345-401F-8B99-46595DEAA66D}" type="pres">
      <dgm:prSet presAssocID="{799C6A42-FCD9-417E-A792-EC33C27C79AA}" presName="image" presStyleLbl="fgImgPlace1" presStyleIdx="1" presStyleCnt="3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0BC2E776-948A-410C-BF98-F4DB96F4A8B6}" type="pres">
      <dgm:prSet presAssocID="{799C6A42-FCD9-417E-A792-EC33C27C79AA}" presName="childNode" presStyleLbl="node1" presStyleIdx="1" presStyleCnt="3" custLinFactNeighborX="-4400" custLinFactNeighborY="-860">
        <dgm:presLayoutVars>
          <dgm:bulletEnabled val="1"/>
        </dgm:presLayoutVars>
      </dgm:prSet>
      <dgm:spPr/>
    </dgm:pt>
    <dgm:pt modelId="{95F37BCE-5602-48E1-B14A-B227FF69A86E}" type="pres">
      <dgm:prSet presAssocID="{799C6A42-FCD9-417E-A792-EC33C27C79AA}" presName="parentNode" presStyleLbl="revTx" presStyleIdx="1" presStyleCnt="3">
        <dgm:presLayoutVars>
          <dgm:chMax val="0"/>
          <dgm:bulletEnabled val="1"/>
        </dgm:presLayoutVars>
      </dgm:prSet>
      <dgm:spPr/>
    </dgm:pt>
    <dgm:pt modelId="{DED2BE9D-D8C0-4CBC-8C97-0DA8D7E6F416}" type="pres">
      <dgm:prSet presAssocID="{6343FC9A-5016-4598-88C7-CBCE4A14EDD6}" presName="sibTrans" presStyleCnt="0"/>
      <dgm:spPr/>
    </dgm:pt>
    <dgm:pt modelId="{53DB3834-9315-47A8-8AE9-CC51CB68346D}" type="pres">
      <dgm:prSet presAssocID="{668C2D20-52A6-4EE6-B919-267266943361}" presName="compositeNode" presStyleCnt="0">
        <dgm:presLayoutVars>
          <dgm:bulletEnabled val="1"/>
        </dgm:presLayoutVars>
      </dgm:prSet>
      <dgm:spPr/>
    </dgm:pt>
    <dgm:pt modelId="{5CF46213-D342-44D1-9B49-D18C1A8586C3}" type="pres">
      <dgm:prSet presAssocID="{668C2D20-52A6-4EE6-B919-267266943361}" presName="image" presStyleLbl="fgImgPlace1" presStyleIdx="2" presStyleCnt="3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0A23697B-03AD-469F-8E2F-1E089C400C82}" type="pres">
      <dgm:prSet presAssocID="{668C2D20-52A6-4EE6-B919-267266943361}" presName="childNode" presStyleLbl="node1" presStyleIdx="2" presStyleCnt="3">
        <dgm:presLayoutVars>
          <dgm:bulletEnabled val="1"/>
        </dgm:presLayoutVars>
      </dgm:prSet>
      <dgm:spPr/>
    </dgm:pt>
    <dgm:pt modelId="{8B2FD7B3-2768-4E74-BA6C-480FABFAC2AA}" type="pres">
      <dgm:prSet presAssocID="{668C2D20-52A6-4EE6-B919-267266943361}" presName="parentNode" presStyleLbl="revTx" presStyleIdx="2" presStyleCnt="3">
        <dgm:presLayoutVars>
          <dgm:chMax val="0"/>
          <dgm:bulletEnabled val="1"/>
        </dgm:presLayoutVars>
      </dgm:prSet>
      <dgm:spPr/>
    </dgm:pt>
  </dgm:ptLst>
  <dgm:cxnLst>
    <dgm:cxn modelId="{0B4C740F-312B-44DB-8BF4-31F8932A3622}" type="presOf" srcId="{312A3F94-EAFE-438A-8B63-C8508B051EC5}" destId="{0A23697B-03AD-469F-8E2F-1E089C400C82}" srcOrd="0" destOrd="3" presId="urn:microsoft.com/office/officeart/2005/8/layout/hList2"/>
    <dgm:cxn modelId="{BF5EB612-3ECD-43F6-B537-7BC75C94B6FD}" srcId="{2595C9AD-CC1A-4C7F-B0D8-CC5A1B98064E}" destId="{66B53DBF-8335-4235-80C1-00F99356BF78}" srcOrd="3" destOrd="0" parTransId="{C4B6BD43-491E-499E-BFFD-2824DE10C045}" sibTransId="{D53FC8CD-D782-4286-9AA3-28BB244A2871}"/>
    <dgm:cxn modelId="{EB349621-2267-4A52-96CB-464C7547E222}" type="presOf" srcId="{9F9786ED-9BCD-4009-A8E3-1230F4E1BCBA}" destId="{0A23697B-03AD-469F-8E2F-1E089C400C82}" srcOrd="0" destOrd="1" presId="urn:microsoft.com/office/officeart/2005/8/layout/hList2"/>
    <dgm:cxn modelId="{EB192724-64FB-4DF7-9761-8DF8B7344E0A}" srcId="{799C6A42-FCD9-417E-A792-EC33C27C79AA}" destId="{5CF59008-0D9E-4C5C-A75C-C5872D386964}" srcOrd="0" destOrd="0" parTransId="{C6500813-0B0B-4F41-B547-92267C55EF80}" sibTransId="{7B90745E-445A-4407-BCDA-C96C551F98C8}"/>
    <dgm:cxn modelId="{42D7DA26-D46E-4885-B063-C56DB830A708}" srcId="{668C2D20-52A6-4EE6-B919-267266943361}" destId="{1F4AF0B5-0FD3-4E5D-9DED-D29283982A6B}" srcOrd="2" destOrd="0" parTransId="{50D0EB9B-FDBE-4EEC-94EE-220A372E2ECE}" sibTransId="{DB3DB766-0392-47CF-A562-0ED091A55D72}"/>
    <dgm:cxn modelId="{9D536427-CF0B-4C7C-ACBD-A61763F58F52}" type="presOf" srcId="{967D03B3-A4F1-4D29-A7F3-99703CDA2F37}" destId="{0BC2E776-948A-410C-BF98-F4DB96F4A8B6}" srcOrd="0" destOrd="1" presId="urn:microsoft.com/office/officeart/2005/8/layout/hList2"/>
    <dgm:cxn modelId="{734B1A3F-EC41-4129-9BBF-32333D06F126}" srcId="{4B03CF0E-FEA8-4859-918D-9805BDB59610}" destId="{668C2D20-52A6-4EE6-B919-267266943361}" srcOrd="2" destOrd="0" parTransId="{63A0C8DB-4ABE-41B2-8362-43606D7680CC}" sibTransId="{4A97275B-7DD0-45DA-9B11-79D95EAE2AE4}"/>
    <dgm:cxn modelId="{02914E60-BD75-444F-AFB0-2510FCF9D187}" srcId="{4B03CF0E-FEA8-4859-918D-9805BDB59610}" destId="{799C6A42-FCD9-417E-A792-EC33C27C79AA}" srcOrd="1" destOrd="0" parTransId="{EEFB254B-631B-4F39-9D17-C04BA1DB725E}" sibTransId="{6343FC9A-5016-4598-88C7-CBCE4A14EDD6}"/>
    <dgm:cxn modelId="{18F04C6B-171A-4C3F-969E-B775868CA2CC}" srcId="{668C2D20-52A6-4EE6-B919-267266943361}" destId="{312A3F94-EAFE-438A-8B63-C8508B051EC5}" srcOrd="3" destOrd="0" parTransId="{2F879958-63AC-46D3-9B97-432BDD76902E}" sibTransId="{FAF388BF-1F89-40AF-9B18-35E44D255BD5}"/>
    <dgm:cxn modelId="{C658577B-14F1-49F2-A802-A5E4E9A7AA94}" type="presOf" srcId="{B20B4A82-BE34-4C6F-BBA8-BEF5C59EFF02}" destId="{47EC222F-D8FC-43D8-8314-E4F633EC6C92}" srcOrd="0" destOrd="5" presId="urn:microsoft.com/office/officeart/2005/8/layout/hList2"/>
    <dgm:cxn modelId="{1018D07B-F87B-4E7E-8A27-EB410863F1F3}" type="presOf" srcId="{4B03CF0E-FEA8-4859-918D-9805BDB59610}" destId="{A94B12ED-782D-4C7D-8132-E53E8EC3360B}" srcOrd="0" destOrd="0" presId="urn:microsoft.com/office/officeart/2005/8/layout/hList2"/>
    <dgm:cxn modelId="{F774067C-9203-47B0-8D5F-19BB5E40E0C7}" type="presOf" srcId="{A712EF0F-43B9-4CC9-B290-EA04F6AC96EF}" destId="{0BC2E776-948A-410C-BF98-F4DB96F4A8B6}" srcOrd="0" destOrd="3" presId="urn:microsoft.com/office/officeart/2005/8/layout/hList2"/>
    <dgm:cxn modelId="{397F8589-D209-4C4B-8AA4-BA3E7EE0E48F}" type="presOf" srcId="{1CD2E059-9BD9-455E-861B-CA8D7241E231}" destId="{47EC222F-D8FC-43D8-8314-E4F633EC6C92}" srcOrd="0" destOrd="2" presId="urn:microsoft.com/office/officeart/2005/8/layout/hList2"/>
    <dgm:cxn modelId="{40BA128A-8DEA-42B8-A0DF-872B39358108}" srcId="{799C6A42-FCD9-417E-A792-EC33C27C79AA}" destId="{A712EF0F-43B9-4CC9-B290-EA04F6AC96EF}" srcOrd="3" destOrd="0" parTransId="{C4C528C4-D893-44F9-B676-A9CF49E95AC7}" sibTransId="{50C3A2D9-1498-48A7-8BE5-C1AFF7F7A3DF}"/>
    <dgm:cxn modelId="{3167F58B-8AAE-4D39-A174-1E873382ED8C}" srcId="{799C6A42-FCD9-417E-A792-EC33C27C79AA}" destId="{DEFD2ED6-156E-4F43-84C2-AC89950F1718}" srcOrd="2" destOrd="0" parTransId="{4A8FC8F1-9B29-4215-A42F-2C0BF57C5F5F}" sibTransId="{0283FF12-5E3B-49F6-89DF-E9CFB87A7414}"/>
    <dgm:cxn modelId="{62923293-A606-4BD3-A0B3-576BE4C93A05}" type="presOf" srcId="{FD7B4089-08F5-4F1A-862E-3A11A01CC3C8}" destId="{47EC222F-D8FC-43D8-8314-E4F633EC6C92}" srcOrd="0" destOrd="1" presId="urn:microsoft.com/office/officeart/2005/8/layout/hList2"/>
    <dgm:cxn modelId="{A37001A4-1E25-4E8E-AF28-65ADCF4CE8AB}" srcId="{2595C9AD-CC1A-4C7F-B0D8-CC5A1B98064E}" destId="{B20B4A82-BE34-4C6F-BBA8-BEF5C59EFF02}" srcOrd="5" destOrd="0" parTransId="{81EC6AEF-36BA-4D18-93AA-C8A2F7A38026}" sibTransId="{EB3111E0-041D-47EB-B8B0-564B90892502}"/>
    <dgm:cxn modelId="{4313A1A5-6F89-454A-8108-CE50BFFE4EDB}" srcId="{2595C9AD-CC1A-4C7F-B0D8-CC5A1B98064E}" destId="{FD7B4089-08F5-4F1A-862E-3A11A01CC3C8}" srcOrd="1" destOrd="0" parTransId="{8B30FCCB-73DA-4232-9B25-BA877E2B0576}" sibTransId="{D91891E4-DD42-4E2D-8012-55B1EA027692}"/>
    <dgm:cxn modelId="{B8D845A8-08C4-4ACB-A762-E8B02A32360E}" srcId="{668C2D20-52A6-4EE6-B919-267266943361}" destId="{9F40E5E0-78B2-4FC9-A96D-A3696CDB690E}" srcOrd="0" destOrd="0" parTransId="{7128D2E1-5E72-4415-BC20-F62A578B3182}" sibTransId="{C54E64E1-F017-4379-BEF7-69295867A7DA}"/>
    <dgm:cxn modelId="{605AD5B4-C06F-4F65-A2F2-71ED8ED188BC}" type="presOf" srcId="{1F4AF0B5-0FD3-4E5D-9DED-D29283982A6B}" destId="{0A23697B-03AD-469F-8E2F-1E089C400C82}" srcOrd="0" destOrd="2" presId="urn:microsoft.com/office/officeart/2005/8/layout/hList2"/>
    <dgm:cxn modelId="{382892B8-B9B6-4A26-927B-3E38AD2B64C0}" srcId="{2595C9AD-CC1A-4C7F-B0D8-CC5A1B98064E}" destId="{E06B3976-0B58-41BF-A307-220F72DD6781}" srcOrd="0" destOrd="0" parTransId="{6764EB74-1E73-470E-85F0-E088E8AF2D72}" sibTransId="{680541D5-369B-4BAC-9469-F7796ADA8A12}"/>
    <dgm:cxn modelId="{5117EFB9-D9F2-4D3E-A134-1D6942D34700}" type="presOf" srcId="{DEFD2ED6-156E-4F43-84C2-AC89950F1718}" destId="{0BC2E776-948A-410C-BF98-F4DB96F4A8B6}" srcOrd="0" destOrd="2" presId="urn:microsoft.com/office/officeart/2005/8/layout/hList2"/>
    <dgm:cxn modelId="{E63D27BB-9872-45B2-A8DB-5F88FAB7A350}" type="presOf" srcId="{5CF59008-0D9E-4C5C-A75C-C5872D386964}" destId="{0BC2E776-948A-410C-BF98-F4DB96F4A8B6}" srcOrd="0" destOrd="0" presId="urn:microsoft.com/office/officeart/2005/8/layout/hList2"/>
    <dgm:cxn modelId="{37394AD9-C403-4D43-A7DC-1ACB3813C76B}" type="presOf" srcId="{66B53DBF-8335-4235-80C1-00F99356BF78}" destId="{47EC222F-D8FC-43D8-8314-E4F633EC6C92}" srcOrd="0" destOrd="3" presId="urn:microsoft.com/office/officeart/2005/8/layout/hList2"/>
    <dgm:cxn modelId="{81563BE7-968D-423B-B860-0A70CD00DC29}" type="presOf" srcId="{A467EB82-4A86-4321-932A-BC71C5A9A799}" destId="{47EC222F-D8FC-43D8-8314-E4F633EC6C92}" srcOrd="0" destOrd="4" presId="urn:microsoft.com/office/officeart/2005/8/layout/hList2"/>
    <dgm:cxn modelId="{4D91A7EA-841A-48C4-A95E-1CFEFF8E1D09}" srcId="{4B03CF0E-FEA8-4859-918D-9805BDB59610}" destId="{2595C9AD-CC1A-4C7F-B0D8-CC5A1B98064E}" srcOrd="0" destOrd="0" parTransId="{CB1B262F-F9A6-496F-A4DB-86F4829819A3}" sibTransId="{59682239-565E-4215-9C00-5409EB9713E8}"/>
    <dgm:cxn modelId="{546891F0-C4E1-450F-8152-57A350402F1F}" type="presOf" srcId="{2595C9AD-CC1A-4C7F-B0D8-CC5A1B98064E}" destId="{25F6BEF7-73A3-4FCE-88E9-13D2D906E9FD}" srcOrd="0" destOrd="0" presId="urn:microsoft.com/office/officeart/2005/8/layout/hList2"/>
    <dgm:cxn modelId="{EC196AF1-B303-4A8C-91FC-A0A47A3303EC}" srcId="{2595C9AD-CC1A-4C7F-B0D8-CC5A1B98064E}" destId="{1CD2E059-9BD9-455E-861B-CA8D7241E231}" srcOrd="2" destOrd="0" parTransId="{1B334754-38C1-43BE-89BD-E850B1D42D66}" sibTransId="{666089D8-8CDB-4B58-ADC7-6CBA39859C78}"/>
    <dgm:cxn modelId="{5809C2F5-5960-4EFF-A6DB-EB234DC923E4}" srcId="{2595C9AD-CC1A-4C7F-B0D8-CC5A1B98064E}" destId="{A467EB82-4A86-4321-932A-BC71C5A9A799}" srcOrd="4" destOrd="0" parTransId="{3EFC4B38-06B1-4279-9AE7-46F0FD610724}" sibTransId="{7B77D74D-9DA5-4258-9FE0-EC7C1232245B}"/>
    <dgm:cxn modelId="{87A00EF6-D94D-4A0B-997B-6681D5DEC657}" type="presOf" srcId="{E06B3976-0B58-41BF-A307-220F72DD6781}" destId="{47EC222F-D8FC-43D8-8314-E4F633EC6C92}" srcOrd="0" destOrd="0" presId="urn:microsoft.com/office/officeart/2005/8/layout/hList2"/>
    <dgm:cxn modelId="{3BA0D0FA-701E-444B-879E-95C2C8D8DC59}" type="presOf" srcId="{668C2D20-52A6-4EE6-B919-267266943361}" destId="{8B2FD7B3-2768-4E74-BA6C-480FABFAC2AA}" srcOrd="0" destOrd="0" presId="urn:microsoft.com/office/officeart/2005/8/layout/hList2"/>
    <dgm:cxn modelId="{204EDEFA-C4BD-4DAA-BFFA-5268250381B4}" srcId="{668C2D20-52A6-4EE6-B919-267266943361}" destId="{9F9786ED-9BCD-4009-A8E3-1230F4E1BCBA}" srcOrd="1" destOrd="0" parTransId="{1506F748-2997-40A8-86E5-0E5514AB0DEF}" sibTransId="{0BFBDCF2-061E-4892-B82F-C626D2888044}"/>
    <dgm:cxn modelId="{D150C7FC-C7C3-411E-BBC9-D9E97366AE9B}" type="presOf" srcId="{799C6A42-FCD9-417E-A792-EC33C27C79AA}" destId="{95F37BCE-5602-48E1-B14A-B227FF69A86E}" srcOrd="0" destOrd="0" presId="urn:microsoft.com/office/officeart/2005/8/layout/hList2"/>
    <dgm:cxn modelId="{D04ED7FD-6781-402F-A365-AF22646E093F}" srcId="{799C6A42-FCD9-417E-A792-EC33C27C79AA}" destId="{967D03B3-A4F1-4D29-A7F3-99703CDA2F37}" srcOrd="1" destOrd="0" parTransId="{F5672D5E-CE21-4311-AE40-47FE7DFDED50}" sibTransId="{25FC829F-B590-45A7-B832-FF75D2F6A5E4}"/>
    <dgm:cxn modelId="{D0D04FFF-C8C7-4806-ADFB-182A59C4A0C7}" type="presOf" srcId="{9F40E5E0-78B2-4FC9-A96D-A3696CDB690E}" destId="{0A23697B-03AD-469F-8E2F-1E089C400C82}" srcOrd="0" destOrd="0" presId="urn:microsoft.com/office/officeart/2005/8/layout/hList2"/>
    <dgm:cxn modelId="{D06BB4F3-C0A1-4CC2-AFEF-E24B3FD153A0}" type="presParOf" srcId="{A94B12ED-782D-4C7D-8132-E53E8EC3360B}" destId="{9C7CDC1B-52FA-4E21-BBA3-F418AACF2BB7}" srcOrd="0" destOrd="0" presId="urn:microsoft.com/office/officeart/2005/8/layout/hList2"/>
    <dgm:cxn modelId="{C82984DE-E7DE-4AAD-B656-ACB86ECB00FB}" type="presParOf" srcId="{9C7CDC1B-52FA-4E21-BBA3-F418AACF2BB7}" destId="{7451B013-D031-4EAB-8179-2C342626A04E}" srcOrd="0" destOrd="0" presId="urn:microsoft.com/office/officeart/2005/8/layout/hList2"/>
    <dgm:cxn modelId="{46A97C36-AF75-4468-9B84-D980E0A69526}" type="presParOf" srcId="{9C7CDC1B-52FA-4E21-BBA3-F418AACF2BB7}" destId="{47EC222F-D8FC-43D8-8314-E4F633EC6C92}" srcOrd="1" destOrd="0" presId="urn:microsoft.com/office/officeart/2005/8/layout/hList2"/>
    <dgm:cxn modelId="{A4910223-95BC-4BF6-8531-DDCDDB6E4A98}" type="presParOf" srcId="{9C7CDC1B-52FA-4E21-BBA3-F418AACF2BB7}" destId="{25F6BEF7-73A3-4FCE-88E9-13D2D906E9FD}" srcOrd="2" destOrd="0" presId="urn:microsoft.com/office/officeart/2005/8/layout/hList2"/>
    <dgm:cxn modelId="{4606911B-390F-4325-9DF1-FADE133690CB}" type="presParOf" srcId="{A94B12ED-782D-4C7D-8132-E53E8EC3360B}" destId="{B441F14B-E3C7-4F13-B014-56FE1E5F20D3}" srcOrd="1" destOrd="0" presId="urn:microsoft.com/office/officeart/2005/8/layout/hList2"/>
    <dgm:cxn modelId="{886541E7-FB7A-425C-8630-2EAB07ECCCE0}" type="presParOf" srcId="{A94B12ED-782D-4C7D-8132-E53E8EC3360B}" destId="{38E6853F-328E-4B37-9E32-6AC5946A206D}" srcOrd="2" destOrd="0" presId="urn:microsoft.com/office/officeart/2005/8/layout/hList2"/>
    <dgm:cxn modelId="{012328DC-5E66-457A-98D0-1EC03303DAD3}" type="presParOf" srcId="{38E6853F-328E-4B37-9E32-6AC5946A206D}" destId="{7771BBF3-5345-401F-8B99-46595DEAA66D}" srcOrd="0" destOrd="0" presId="urn:microsoft.com/office/officeart/2005/8/layout/hList2"/>
    <dgm:cxn modelId="{407766CC-B970-49E3-A98F-6733C49DB2FF}" type="presParOf" srcId="{38E6853F-328E-4B37-9E32-6AC5946A206D}" destId="{0BC2E776-948A-410C-BF98-F4DB96F4A8B6}" srcOrd="1" destOrd="0" presId="urn:microsoft.com/office/officeart/2005/8/layout/hList2"/>
    <dgm:cxn modelId="{03BB9E2D-E033-40B9-AAB9-2700CB0DBA19}" type="presParOf" srcId="{38E6853F-328E-4B37-9E32-6AC5946A206D}" destId="{95F37BCE-5602-48E1-B14A-B227FF69A86E}" srcOrd="2" destOrd="0" presId="urn:microsoft.com/office/officeart/2005/8/layout/hList2"/>
    <dgm:cxn modelId="{7AC9DA95-D556-498B-A856-35AF40831A00}" type="presParOf" srcId="{A94B12ED-782D-4C7D-8132-E53E8EC3360B}" destId="{DED2BE9D-D8C0-4CBC-8C97-0DA8D7E6F416}" srcOrd="3" destOrd="0" presId="urn:microsoft.com/office/officeart/2005/8/layout/hList2"/>
    <dgm:cxn modelId="{1757DF24-0C80-4C1C-9FA2-AB9290B9FD09}" type="presParOf" srcId="{A94B12ED-782D-4C7D-8132-E53E8EC3360B}" destId="{53DB3834-9315-47A8-8AE9-CC51CB68346D}" srcOrd="4" destOrd="0" presId="urn:microsoft.com/office/officeart/2005/8/layout/hList2"/>
    <dgm:cxn modelId="{80D889F2-E0F5-4CBB-83F4-6789E34B56E3}" type="presParOf" srcId="{53DB3834-9315-47A8-8AE9-CC51CB68346D}" destId="{5CF46213-D342-44D1-9B49-D18C1A8586C3}" srcOrd="0" destOrd="0" presId="urn:microsoft.com/office/officeart/2005/8/layout/hList2"/>
    <dgm:cxn modelId="{3B1B6367-EA4D-4776-A71A-E703A54B16A2}" type="presParOf" srcId="{53DB3834-9315-47A8-8AE9-CC51CB68346D}" destId="{0A23697B-03AD-469F-8E2F-1E089C400C82}" srcOrd="1" destOrd="0" presId="urn:microsoft.com/office/officeart/2005/8/layout/hList2"/>
    <dgm:cxn modelId="{F9272C3E-9C4A-4B73-A991-9CF1AEF01860}" type="presParOf" srcId="{53DB3834-9315-47A8-8AE9-CC51CB68346D}" destId="{8B2FD7B3-2768-4E74-BA6C-480FABFAC2AA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16CA1157-F7B1-4CC9-AFCA-C642B7F2AF97}">
      <dgm:prSet/>
      <dgm:spPr/>
      <dgm:t>
        <a:bodyPr/>
        <a:lstStyle/>
        <a:p>
          <a:r>
            <a:rPr lang="fr-FR" dirty="0"/>
            <a:t>Rapport financier de l’année 2018-2019</a:t>
          </a:r>
        </a:p>
      </dgm:t>
    </dgm:pt>
    <dgm:pt modelId="{EEACEBBE-1D94-4B15-B846-04CA9728DEE4}" type="parTrans" cxnId="{6DC86103-B41C-45AC-BED1-02538F7C68EB}">
      <dgm:prSet/>
      <dgm:spPr/>
      <dgm:t>
        <a:bodyPr/>
        <a:lstStyle/>
        <a:p>
          <a:endParaRPr lang="fr-FR"/>
        </a:p>
      </dgm:t>
    </dgm:pt>
    <dgm:pt modelId="{398E54CA-C273-4FFF-9008-73D0AD0843C3}" type="sibTrans" cxnId="{6DC86103-B41C-45AC-BED1-02538F7C68EB}">
      <dgm:prSet/>
      <dgm:spPr/>
      <dgm:t>
        <a:bodyPr/>
        <a:lstStyle/>
        <a:p>
          <a:endParaRPr lang="fr-FR"/>
        </a:p>
      </dgm:t>
    </dgm:pt>
    <dgm:pt modelId="{47625696-D3AE-46F5-8480-043EB4D16853}">
      <dgm:prSet/>
      <dgm:spPr/>
      <dgm:t>
        <a:bodyPr/>
        <a:lstStyle/>
        <a:p>
          <a:r>
            <a:rPr lang="fr-FR" dirty="0"/>
            <a:t>Élections au Conseil d’Administration </a:t>
          </a:r>
        </a:p>
      </dgm:t>
    </dgm:pt>
    <dgm:pt modelId="{7B53AB6A-B5F2-4A8A-899B-B6E85617DBA5}" type="parTrans" cxnId="{87D225BC-ADC2-4230-AE2F-3E9B00760AC8}">
      <dgm:prSet/>
      <dgm:spPr/>
      <dgm:t>
        <a:bodyPr/>
        <a:lstStyle/>
        <a:p>
          <a:endParaRPr lang="fr-FR"/>
        </a:p>
      </dgm:t>
    </dgm:pt>
    <dgm:pt modelId="{B29D459B-FC4B-4B61-8A0A-8BEEBC2B7BEE}" type="sibTrans" cxnId="{87D225BC-ADC2-4230-AE2F-3E9B00760AC8}">
      <dgm:prSet/>
      <dgm:spPr/>
      <dgm:t>
        <a:bodyPr/>
        <a:lstStyle/>
        <a:p>
          <a:endParaRPr lang="fr-FR"/>
        </a:p>
      </dgm:t>
    </dgm:pt>
    <dgm:pt modelId="{619613BA-2086-4350-809D-9F7012886454}">
      <dgm:prSet/>
      <dgm:spPr/>
      <dgm:t>
        <a:bodyPr/>
        <a:lstStyle/>
        <a:p>
          <a:r>
            <a:rPr lang="fr-FR" dirty="0"/>
            <a:t>Les rendez-vous 2019-2020</a:t>
          </a:r>
        </a:p>
      </dgm:t>
    </dgm:pt>
    <dgm:pt modelId="{2345FDAB-3330-4427-AFA9-DFA897F00C22}" type="parTrans" cxnId="{0E5AE5CA-D0CB-4B81-9ED6-35BF2EDA7507}">
      <dgm:prSet/>
      <dgm:spPr/>
      <dgm:t>
        <a:bodyPr/>
        <a:lstStyle/>
        <a:p>
          <a:endParaRPr lang="fr-FR"/>
        </a:p>
      </dgm:t>
    </dgm:pt>
    <dgm:pt modelId="{F842AA34-7EA6-4A56-AE1C-C74403A02C48}" type="sibTrans" cxnId="{0E5AE5CA-D0CB-4B81-9ED6-35BF2EDA7507}">
      <dgm:prSet/>
      <dgm:spPr/>
      <dgm:t>
        <a:bodyPr/>
        <a:lstStyle/>
        <a:p>
          <a:endParaRPr lang="fr-FR"/>
        </a:p>
      </dgm:t>
    </dgm:pt>
    <dgm:pt modelId="{FFFD9D0C-EDE6-4F90-83A8-35103B256696}">
      <dgm:prSet/>
      <dgm:spPr/>
      <dgm:t>
        <a:bodyPr/>
        <a:lstStyle/>
        <a:p>
          <a:r>
            <a:rPr lang="fr-FR" dirty="0"/>
            <a:t>Budget de l’année 2019-2020</a:t>
          </a:r>
        </a:p>
      </dgm:t>
    </dgm:pt>
    <dgm:pt modelId="{AF6FDCB6-0F4A-4396-8DEE-2786DBC098EF}" type="parTrans" cxnId="{A3C22201-77C8-4EFC-BBCB-7071E42A69B6}">
      <dgm:prSet/>
      <dgm:spPr/>
      <dgm:t>
        <a:bodyPr/>
        <a:lstStyle/>
        <a:p>
          <a:endParaRPr lang="fr-FR"/>
        </a:p>
      </dgm:t>
    </dgm:pt>
    <dgm:pt modelId="{7ED00206-31B0-4580-8F81-F0303B33D52F}" type="sibTrans" cxnId="{A3C22201-77C8-4EFC-BBCB-7071E42A69B6}">
      <dgm:prSet/>
      <dgm:spPr/>
      <dgm:t>
        <a:bodyPr/>
        <a:lstStyle/>
        <a:p>
          <a:endParaRPr lang="fr-FR"/>
        </a:p>
      </dgm:t>
    </dgm:pt>
    <dgm:pt modelId="{7DE734C7-4F5E-43F5-A22C-D05530E3FC78}">
      <dgm:prSet/>
      <dgm:spPr/>
      <dgm:t>
        <a:bodyPr/>
        <a:lstStyle/>
        <a:p>
          <a:r>
            <a:rPr lang="fr-FR" dirty="0"/>
            <a:t>Questions diverses</a:t>
          </a:r>
        </a:p>
      </dgm:t>
    </dgm:pt>
    <dgm:pt modelId="{40CA29D2-C19B-4DA9-8CDA-86ADC5971F7B}" type="parTrans" cxnId="{843E7DD0-0498-42B3-9F77-27BE45171E79}">
      <dgm:prSet/>
      <dgm:spPr/>
      <dgm:t>
        <a:bodyPr/>
        <a:lstStyle/>
        <a:p>
          <a:endParaRPr lang="fr-FR"/>
        </a:p>
      </dgm:t>
    </dgm:pt>
    <dgm:pt modelId="{FD30EF98-0CCC-4DFE-BB60-61D6D257A93A}" type="sibTrans" cxnId="{843E7DD0-0498-42B3-9F77-27BE45171E79}">
      <dgm:prSet/>
      <dgm:spPr/>
      <dgm:t>
        <a:bodyPr/>
        <a:lstStyle/>
        <a:p>
          <a:endParaRPr lang="fr-FR"/>
        </a:p>
      </dgm:t>
    </dgm:pt>
    <dgm:pt modelId="{AE8534AE-7E28-45A0-9333-64C9EC3115A2}">
      <dgm:prSet phldrT="[Texte]"/>
      <dgm:spPr/>
      <dgm:t>
        <a:bodyPr/>
        <a:lstStyle/>
        <a:p>
          <a:r>
            <a:rPr lang="fr-FR" dirty="0"/>
            <a:t>Pot de l’amitié</a:t>
          </a:r>
        </a:p>
      </dgm:t>
    </dgm:pt>
    <dgm:pt modelId="{E257938E-22EB-4048-8520-3CCEA337AB24}" type="parTrans" cxnId="{98A46E1A-9306-4931-9DF9-3FAFE8E79FF2}">
      <dgm:prSet/>
      <dgm:spPr/>
      <dgm:t>
        <a:bodyPr/>
        <a:lstStyle/>
        <a:p>
          <a:endParaRPr lang="fr-FR"/>
        </a:p>
      </dgm:t>
    </dgm:pt>
    <dgm:pt modelId="{291BACA5-853F-41CA-860A-7826831311CC}" type="sibTrans" cxnId="{98A46E1A-9306-4931-9DF9-3FAFE8E79FF2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7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7"/>
      <dgm:spPr/>
    </dgm:pt>
    <dgm:pt modelId="{4485BF69-EF87-4AEE-AFDF-DE2F8D2ACCD9}" type="pres">
      <dgm:prSet presAssocID="{F010CF21-4A6D-44EF-A02C-3D5169816247}" presName="dstNode" presStyleLbl="node1" presStyleIdx="0" presStyleCnt="7"/>
      <dgm:spPr/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7"/>
      <dgm:spPr/>
    </dgm:pt>
    <dgm:pt modelId="{274C4585-C245-4732-9DB5-3B6E58BD18B9}" type="pres">
      <dgm:prSet presAssocID="{16CA1157-F7B1-4CC9-AFCA-C642B7F2AF97}" presName="text_2" presStyleLbl="node1" presStyleIdx="1" presStyleCnt="7">
        <dgm:presLayoutVars>
          <dgm:bulletEnabled val="1"/>
        </dgm:presLayoutVars>
      </dgm:prSet>
      <dgm:spPr/>
    </dgm:pt>
    <dgm:pt modelId="{8BBE401C-8DB9-4A79-B893-0DC5620EE075}" type="pres">
      <dgm:prSet presAssocID="{16CA1157-F7B1-4CC9-AFCA-C642B7F2AF97}" presName="accent_2" presStyleCnt="0"/>
      <dgm:spPr/>
    </dgm:pt>
    <dgm:pt modelId="{B9D96FDE-FC74-40A9-9C06-6264AA94A37D}" type="pres">
      <dgm:prSet presAssocID="{16CA1157-F7B1-4CC9-AFCA-C642B7F2AF97}" presName="accentRepeatNode" presStyleLbl="solidFgAcc1" presStyleIdx="1" presStyleCnt="7"/>
      <dgm:spPr/>
    </dgm:pt>
    <dgm:pt modelId="{6D80A84D-E543-4D51-9E7D-93934BEC8B2D}" type="pres">
      <dgm:prSet presAssocID="{47625696-D3AE-46F5-8480-043EB4D16853}" presName="text_3" presStyleLbl="node1" presStyleIdx="2" presStyleCnt="7">
        <dgm:presLayoutVars>
          <dgm:bulletEnabled val="1"/>
        </dgm:presLayoutVars>
      </dgm:prSet>
      <dgm:spPr/>
    </dgm:pt>
    <dgm:pt modelId="{4048521A-1827-4E66-BCA1-26FF5BF6E692}" type="pres">
      <dgm:prSet presAssocID="{47625696-D3AE-46F5-8480-043EB4D16853}" presName="accent_3" presStyleCnt="0"/>
      <dgm:spPr/>
    </dgm:pt>
    <dgm:pt modelId="{1B230A85-B3F9-4799-BB87-178601289762}" type="pres">
      <dgm:prSet presAssocID="{47625696-D3AE-46F5-8480-043EB4D16853}" presName="accentRepeatNode" presStyleLbl="solidFgAcc1" presStyleIdx="2" presStyleCnt="7"/>
      <dgm:spPr/>
    </dgm:pt>
    <dgm:pt modelId="{3DAC922E-C30C-4ED4-82A2-3ABCD0F74B06}" type="pres">
      <dgm:prSet presAssocID="{619613BA-2086-4350-809D-9F7012886454}" presName="text_4" presStyleLbl="node1" presStyleIdx="3" presStyleCnt="7">
        <dgm:presLayoutVars>
          <dgm:bulletEnabled val="1"/>
        </dgm:presLayoutVars>
      </dgm:prSet>
      <dgm:spPr/>
    </dgm:pt>
    <dgm:pt modelId="{609571FA-DBCF-4272-9CB9-3F50801B5B4D}" type="pres">
      <dgm:prSet presAssocID="{619613BA-2086-4350-809D-9F7012886454}" presName="accent_4" presStyleCnt="0"/>
      <dgm:spPr/>
    </dgm:pt>
    <dgm:pt modelId="{996B0623-2957-46D6-A740-B9D49F49F3DE}" type="pres">
      <dgm:prSet presAssocID="{619613BA-2086-4350-809D-9F7012886454}" presName="accentRepeatNode" presStyleLbl="solidFgAcc1" presStyleIdx="3" presStyleCnt="7"/>
      <dgm:spPr/>
    </dgm:pt>
    <dgm:pt modelId="{2C865F95-ADC2-4FA3-91DA-8ACAA743C549}" type="pres">
      <dgm:prSet presAssocID="{FFFD9D0C-EDE6-4F90-83A8-35103B256696}" presName="text_5" presStyleLbl="node1" presStyleIdx="4" presStyleCnt="7">
        <dgm:presLayoutVars>
          <dgm:bulletEnabled val="1"/>
        </dgm:presLayoutVars>
      </dgm:prSet>
      <dgm:spPr/>
    </dgm:pt>
    <dgm:pt modelId="{16DEC064-5E51-435A-89F5-E9347BA04128}" type="pres">
      <dgm:prSet presAssocID="{FFFD9D0C-EDE6-4F90-83A8-35103B256696}" presName="accent_5" presStyleCnt="0"/>
      <dgm:spPr/>
    </dgm:pt>
    <dgm:pt modelId="{43F5E926-0F18-467A-B5D4-8EAAB4DBA912}" type="pres">
      <dgm:prSet presAssocID="{FFFD9D0C-EDE6-4F90-83A8-35103B256696}" presName="accentRepeatNode" presStyleLbl="solidFgAcc1" presStyleIdx="4" presStyleCnt="7"/>
      <dgm:spPr/>
    </dgm:pt>
    <dgm:pt modelId="{7C70B6AC-9359-45A3-9846-39EA50A9FBAC}" type="pres">
      <dgm:prSet presAssocID="{7DE734C7-4F5E-43F5-A22C-D05530E3FC78}" presName="text_6" presStyleLbl="node1" presStyleIdx="5" presStyleCnt="7">
        <dgm:presLayoutVars>
          <dgm:bulletEnabled val="1"/>
        </dgm:presLayoutVars>
      </dgm:prSet>
      <dgm:spPr/>
    </dgm:pt>
    <dgm:pt modelId="{CCF9A4AB-E85C-40FF-B20B-B86F507E64B1}" type="pres">
      <dgm:prSet presAssocID="{7DE734C7-4F5E-43F5-A22C-D05530E3FC78}" presName="accent_6" presStyleCnt="0"/>
      <dgm:spPr/>
    </dgm:pt>
    <dgm:pt modelId="{6695887E-8636-4651-8D06-7E38BEB48E0A}" type="pres">
      <dgm:prSet presAssocID="{7DE734C7-4F5E-43F5-A22C-D05530E3FC78}" presName="accentRepeatNode" presStyleLbl="solidFgAcc1" presStyleIdx="5" presStyleCnt="7"/>
      <dgm:spPr/>
    </dgm:pt>
    <dgm:pt modelId="{2B1CD15C-7150-422E-AB4E-167BFE2C9E0D}" type="pres">
      <dgm:prSet presAssocID="{AE8534AE-7E28-45A0-9333-64C9EC3115A2}" presName="text_7" presStyleLbl="node1" presStyleIdx="6" presStyleCnt="7">
        <dgm:presLayoutVars>
          <dgm:bulletEnabled val="1"/>
        </dgm:presLayoutVars>
      </dgm:prSet>
      <dgm:spPr/>
    </dgm:pt>
    <dgm:pt modelId="{5671BB18-F551-468D-BC9A-8B1D67E1BD13}" type="pres">
      <dgm:prSet presAssocID="{AE8534AE-7E28-45A0-9333-64C9EC3115A2}" presName="accent_7" presStyleCnt="0"/>
      <dgm:spPr/>
    </dgm:pt>
    <dgm:pt modelId="{71559C3F-566D-4256-949F-35FEAB285CFD}" type="pres">
      <dgm:prSet presAssocID="{AE8534AE-7E28-45A0-9333-64C9EC3115A2}" presName="accentRepeatNode" presStyleLbl="solidFgAcc1" presStyleIdx="6" presStyleCnt="7"/>
      <dgm:spPr/>
    </dgm:pt>
  </dgm:ptLst>
  <dgm:cxnLst>
    <dgm:cxn modelId="{A3C22201-77C8-4EFC-BBCB-7071E42A69B6}" srcId="{F010CF21-4A6D-44EF-A02C-3D5169816247}" destId="{FFFD9D0C-EDE6-4F90-83A8-35103B256696}" srcOrd="4" destOrd="0" parTransId="{AF6FDCB6-0F4A-4396-8DEE-2786DBC098EF}" sibTransId="{7ED00206-31B0-4580-8F81-F0303B33D52F}"/>
    <dgm:cxn modelId="{6DC86103-B41C-45AC-BED1-02538F7C68EB}" srcId="{F010CF21-4A6D-44EF-A02C-3D5169816247}" destId="{16CA1157-F7B1-4CC9-AFCA-C642B7F2AF97}" srcOrd="1" destOrd="0" parTransId="{EEACEBBE-1D94-4B15-B846-04CA9728DEE4}" sibTransId="{398E54CA-C273-4FFF-9008-73D0AD0843C3}"/>
    <dgm:cxn modelId="{98A46E1A-9306-4931-9DF9-3FAFE8E79FF2}" srcId="{F010CF21-4A6D-44EF-A02C-3D5169816247}" destId="{AE8534AE-7E28-45A0-9333-64C9EC3115A2}" srcOrd="6" destOrd="0" parTransId="{E257938E-22EB-4048-8520-3CCEA337AB24}" sibTransId="{291BACA5-853F-41CA-860A-7826831311CC}"/>
    <dgm:cxn modelId="{C7540028-4E09-438B-A38A-57FD552711CF}" type="presOf" srcId="{47625696-D3AE-46F5-8480-043EB4D16853}" destId="{6D80A84D-E543-4D51-9E7D-93934BEC8B2D}" srcOrd="0" destOrd="0" presId="urn:microsoft.com/office/officeart/2008/layout/VerticalCurvedList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0D619340-56F2-4F0A-9613-5985806C078B}" type="presOf" srcId="{7DE734C7-4F5E-43F5-A22C-D05530E3FC78}" destId="{7C70B6AC-9359-45A3-9846-39EA50A9FBAC}" srcOrd="0" destOrd="0" presId="urn:microsoft.com/office/officeart/2008/layout/VerticalCurvedList"/>
    <dgm:cxn modelId="{0901FD71-2754-4064-84F4-7B05736F5FA0}" type="presOf" srcId="{16CA1157-F7B1-4CC9-AFCA-C642B7F2AF97}" destId="{274C4585-C245-4732-9DB5-3B6E58BD18B9}" srcOrd="0" destOrd="0" presId="urn:microsoft.com/office/officeart/2008/layout/VerticalCurvedList"/>
    <dgm:cxn modelId="{2BF87674-16D6-428C-BA01-BF51D1B806B5}" type="presOf" srcId="{619613BA-2086-4350-809D-9F7012886454}" destId="{3DAC922E-C30C-4ED4-82A2-3ABCD0F74B06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24231CA0-3D4B-4FAB-89EC-F5E18FB6EBF7}" type="presOf" srcId="{AE8534AE-7E28-45A0-9333-64C9EC3115A2}" destId="{2B1CD15C-7150-422E-AB4E-167BFE2C9E0D}" srcOrd="0" destOrd="0" presId="urn:microsoft.com/office/officeart/2008/layout/VerticalCurvedList"/>
    <dgm:cxn modelId="{87D225BC-ADC2-4230-AE2F-3E9B00760AC8}" srcId="{F010CF21-4A6D-44EF-A02C-3D5169816247}" destId="{47625696-D3AE-46F5-8480-043EB4D16853}" srcOrd="2" destOrd="0" parTransId="{7B53AB6A-B5F2-4A8A-899B-B6E85617DBA5}" sibTransId="{B29D459B-FC4B-4B61-8A0A-8BEEBC2B7BEE}"/>
    <dgm:cxn modelId="{0E5AE5CA-D0CB-4B81-9ED6-35BF2EDA7507}" srcId="{F010CF21-4A6D-44EF-A02C-3D5169816247}" destId="{619613BA-2086-4350-809D-9F7012886454}" srcOrd="3" destOrd="0" parTransId="{2345FDAB-3330-4427-AFA9-DFA897F00C22}" sibTransId="{F842AA34-7EA6-4A56-AE1C-C74403A02C48}"/>
    <dgm:cxn modelId="{584B54CD-DF5B-4BD1-BD6B-790BDFA710B9}" type="presOf" srcId="{FFFD9D0C-EDE6-4F90-83A8-35103B256696}" destId="{2C865F95-ADC2-4FA3-91DA-8ACAA743C549}" srcOrd="0" destOrd="0" presId="urn:microsoft.com/office/officeart/2008/layout/VerticalCurvedList"/>
    <dgm:cxn modelId="{843E7DD0-0498-42B3-9F77-27BE45171E79}" srcId="{F010CF21-4A6D-44EF-A02C-3D5169816247}" destId="{7DE734C7-4F5E-43F5-A22C-D05530E3FC78}" srcOrd="5" destOrd="0" parTransId="{40CA29D2-C19B-4DA9-8CDA-86ADC5971F7B}" sibTransId="{FD30EF98-0CCC-4DFE-BB60-61D6D257A93A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2B5637E2-A791-41FE-B0B3-C8F191E116A3}" type="presParOf" srcId="{43AFC4E7-46DA-4B7B-B201-0A406A05CAD2}" destId="{274C4585-C245-4732-9DB5-3B6E58BD18B9}" srcOrd="3" destOrd="0" presId="urn:microsoft.com/office/officeart/2008/layout/VerticalCurvedList"/>
    <dgm:cxn modelId="{9FBA22EE-9164-4322-B94B-FA645D2EDB56}" type="presParOf" srcId="{43AFC4E7-46DA-4B7B-B201-0A406A05CAD2}" destId="{8BBE401C-8DB9-4A79-B893-0DC5620EE075}" srcOrd="4" destOrd="0" presId="urn:microsoft.com/office/officeart/2008/layout/VerticalCurvedList"/>
    <dgm:cxn modelId="{CD5D3CB7-D10A-4639-B0F9-F0F7ED4418F5}" type="presParOf" srcId="{8BBE401C-8DB9-4A79-B893-0DC5620EE075}" destId="{B9D96FDE-FC74-40A9-9C06-6264AA94A37D}" srcOrd="0" destOrd="0" presId="urn:microsoft.com/office/officeart/2008/layout/VerticalCurvedList"/>
    <dgm:cxn modelId="{E8F804AB-CCB8-4CF3-A94B-1C1526F22414}" type="presParOf" srcId="{43AFC4E7-46DA-4B7B-B201-0A406A05CAD2}" destId="{6D80A84D-E543-4D51-9E7D-93934BEC8B2D}" srcOrd="5" destOrd="0" presId="urn:microsoft.com/office/officeart/2008/layout/VerticalCurvedList"/>
    <dgm:cxn modelId="{6EEF8022-3541-4417-AA36-A31A3A97AB01}" type="presParOf" srcId="{43AFC4E7-46DA-4B7B-B201-0A406A05CAD2}" destId="{4048521A-1827-4E66-BCA1-26FF5BF6E692}" srcOrd="6" destOrd="0" presId="urn:microsoft.com/office/officeart/2008/layout/VerticalCurvedList"/>
    <dgm:cxn modelId="{7D63B428-4743-4ABD-8ED9-A050590F9D1F}" type="presParOf" srcId="{4048521A-1827-4E66-BCA1-26FF5BF6E692}" destId="{1B230A85-B3F9-4799-BB87-178601289762}" srcOrd="0" destOrd="0" presId="urn:microsoft.com/office/officeart/2008/layout/VerticalCurvedList"/>
    <dgm:cxn modelId="{B1BFCD21-726A-45C0-87AE-839499FE8A44}" type="presParOf" srcId="{43AFC4E7-46DA-4B7B-B201-0A406A05CAD2}" destId="{3DAC922E-C30C-4ED4-82A2-3ABCD0F74B06}" srcOrd="7" destOrd="0" presId="urn:microsoft.com/office/officeart/2008/layout/VerticalCurvedList"/>
    <dgm:cxn modelId="{15FD1DAF-7ADE-4A8E-B373-FD608FB7A12A}" type="presParOf" srcId="{43AFC4E7-46DA-4B7B-B201-0A406A05CAD2}" destId="{609571FA-DBCF-4272-9CB9-3F50801B5B4D}" srcOrd="8" destOrd="0" presId="urn:microsoft.com/office/officeart/2008/layout/VerticalCurvedList"/>
    <dgm:cxn modelId="{37F1D185-1736-43C3-89CA-95FAE36FBD42}" type="presParOf" srcId="{609571FA-DBCF-4272-9CB9-3F50801B5B4D}" destId="{996B0623-2957-46D6-A740-B9D49F49F3DE}" srcOrd="0" destOrd="0" presId="urn:microsoft.com/office/officeart/2008/layout/VerticalCurvedList"/>
    <dgm:cxn modelId="{8CE2C0B5-E7C4-4D92-8E9C-CAC77F3BDD0F}" type="presParOf" srcId="{43AFC4E7-46DA-4B7B-B201-0A406A05CAD2}" destId="{2C865F95-ADC2-4FA3-91DA-8ACAA743C549}" srcOrd="9" destOrd="0" presId="urn:microsoft.com/office/officeart/2008/layout/VerticalCurvedList"/>
    <dgm:cxn modelId="{84908A39-0945-41CD-A1F0-AE8364D6C9FF}" type="presParOf" srcId="{43AFC4E7-46DA-4B7B-B201-0A406A05CAD2}" destId="{16DEC064-5E51-435A-89F5-E9347BA04128}" srcOrd="10" destOrd="0" presId="urn:microsoft.com/office/officeart/2008/layout/VerticalCurvedList"/>
    <dgm:cxn modelId="{E57C5C83-A4A8-4F9D-9128-F82D57371383}" type="presParOf" srcId="{16DEC064-5E51-435A-89F5-E9347BA04128}" destId="{43F5E926-0F18-467A-B5D4-8EAAB4DBA912}" srcOrd="0" destOrd="0" presId="urn:microsoft.com/office/officeart/2008/layout/VerticalCurvedList"/>
    <dgm:cxn modelId="{567F7CC9-6EC2-43AC-9B28-E5967CC6E200}" type="presParOf" srcId="{43AFC4E7-46DA-4B7B-B201-0A406A05CAD2}" destId="{7C70B6AC-9359-45A3-9846-39EA50A9FBAC}" srcOrd="11" destOrd="0" presId="urn:microsoft.com/office/officeart/2008/layout/VerticalCurvedList"/>
    <dgm:cxn modelId="{CCE53E23-1171-4B9B-81B3-85A24ACEB943}" type="presParOf" srcId="{43AFC4E7-46DA-4B7B-B201-0A406A05CAD2}" destId="{CCF9A4AB-E85C-40FF-B20B-B86F507E64B1}" srcOrd="12" destOrd="0" presId="urn:microsoft.com/office/officeart/2008/layout/VerticalCurvedList"/>
    <dgm:cxn modelId="{FCB6E2F3-B135-462A-A6EE-489D1118F7B4}" type="presParOf" srcId="{CCF9A4AB-E85C-40FF-B20B-B86F507E64B1}" destId="{6695887E-8636-4651-8D06-7E38BEB48E0A}" srcOrd="0" destOrd="0" presId="urn:microsoft.com/office/officeart/2008/layout/VerticalCurvedList"/>
    <dgm:cxn modelId="{C05568C8-6E7C-410F-A2C8-FC158BE34470}" type="presParOf" srcId="{43AFC4E7-46DA-4B7B-B201-0A406A05CAD2}" destId="{2B1CD15C-7150-422E-AB4E-167BFE2C9E0D}" srcOrd="13" destOrd="0" presId="urn:microsoft.com/office/officeart/2008/layout/VerticalCurvedList"/>
    <dgm:cxn modelId="{02D2BDB8-19D8-432E-8E6C-63ED1E36E471}" type="presParOf" srcId="{43AFC4E7-46DA-4B7B-B201-0A406A05CAD2}" destId="{5671BB18-F551-468D-BC9A-8B1D67E1BD13}" srcOrd="14" destOrd="0" presId="urn:microsoft.com/office/officeart/2008/layout/VerticalCurvedList"/>
    <dgm:cxn modelId="{72F090FA-1195-47C4-BC42-03812008B8C0}" type="presParOf" srcId="{5671BB18-F551-468D-BC9A-8B1D67E1BD13}" destId="{71559C3F-566D-4256-949F-35FEAB285CF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/>
            <a:t>Rapport moral du Président </a:t>
          </a:r>
          <a:endParaRPr lang="fr-FR" sz="1800" dirty="0"/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101A5E29-5A4A-4CE0-869C-01DD8BDA9B24}">
      <dgm:prSet/>
      <dgm:spPr/>
      <dgm:t>
        <a:bodyPr/>
        <a:lstStyle/>
        <a:p>
          <a:r>
            <a:rPr lang="fr-FR" dirty="0"/>
            <a:t>Rapport financier de l’année 2018-2019</a:t>
          </a:r>
        </a:p>
      </dgm:t>
    </dgm:pt>
    <dgm:pt modelId="{F7D44679-2ABA-405C-A035-163E4D1F455A}" type="parTrans" cxnId="{64309DC0-AB06-4CAD-9465-2A93C1F11CD1}">
      <dgm:prSet/>
      <dgm:spPr/>
      <dgm:t>
        <a:bodyPr/>
        <a:lstStyle/>
        <a:p>
          <a:endParaRPr lang="fr-FR"/>
        </a:p>
      </dgm:t>
    </dgm:pt>
    <dgm:pt modelId="{C17139A8-25EF-4E02-801F-654F7F27D3DA}" type="sibTrans" cxnId="{64309DC0-AB06-4CAD-9465-2A93C1F11CD1}">
      <dgm:prSet/>
      <dgm:spPr/>
      <dgm:t>
        <a:bodyPr/>
        <a:lstStyle/>
        <a:p>
          <a:endParaRPr lang="fr-FR"/>
        </a:p>
      </dgm:t>
    </dgm:pt>
    <dgm:pt modelId="{88DDED17-2798-4069-8538-38625DEDFB50}">
      <dgm:prSet/>
      <dgm:spPr/>
      <dgm:t>
        <a:bodyPr/>
        <a:lstStyle/>
        <a:p>
          <a:r>
            <a:rPr lang="fr-FR" dirty="0"/>
            <a:t>Élections au Conseil d’Administration </a:t>
          </a:r>
        </a:p>
      </dgm:t>
    </dgm:pt>
    <dgm:pt modelId="{0A4C901A-8488-4D5E-863E-3B94DDC904BD}" type="parTrans" cxnId="{27756787-7008-498D-AD6A-902314A97038}">
      <dgm:prSet/>
      <dgm:spPr/>
      <dgm:t>
        <a:bodyPr/>
        <a:lstStyle/>
        <a:p>
          <a:endParaRPr lang="fr-FR"/>
        </a:p>
      </dgm:t>
    </dgm:pt>
    <dgm:pt modelId="{72B46680-01FF-4E44-85A6-4FB965E66959}" type="sibTrans" cxnId="{27756787-7008-498D-AD6A-902314A97038}">
      <dgm:prSet/>
      <dgm:spPr/>
      <dgm:t>
        <a:bodyPr/>
        <a:lstStyle/>
        <a:p>
          <a:endParaRPr lang="fr-FR"/>
        </a:p>
      </dgm:t>
    </dgm:pt>
    <dgm:pt modelId="{755D21F9-B36E-4146-B827-387208FBAAA6}">
      <dgm:prSet/>
      <dgm:spPr/>
      <dgm:t>
        <a:bodyPr/>
        <a:lstStyle/>
        <a:p>
          <a:r>
            <a:rPr lang="fr-FR" dirty="0"/>
            <a:t>Les rendez-vous 2019-2020</a:t>
          </a:r>
        </a:p>
      </dgm:t>
    </dgm:pt>
    <dgm:pt modelId="{C9B3AC93-D7D9-48B6-9D91-3032096645E1}" type="parTrans" cxnId="{B8C909AE-5ED1-45E5-AF7F-8AD95C19B8C5}">
      <dgm:prSet/>
      <dgm:spPr/>
      <dgm:t>
        <a:bodyPr/>
        <a:lstStyle/>
        <a:p>
          <a:endParaRPr lang="fr-FR"/>
        </a:p>
      </dgm:t>
    </dgm:pt>
    <dgm:pt modelId="{D2B5B5F1-00EF-4F3B-8872-B8CD3E14BE4C}" type="sibTrans" cxnId="{B8C909AE-5ED1-45E5-AF7F-8AD95C19B8C5}">
      <dgm:prSet/>
      <dgm:spPr/>
      <dgm:t>
        <a:bodyPr/>
        <a:lstStyle/>
        <a:p>
          <a:endParaRPr lang="fr-FR"/>
        </a:p>
      </dgm:t>
    </dgm:pt>
    <dgm:pt modelId="{F9B64D59-0413-4F94-8B9E-1CE3651713F4}">
      <dgm:prSet/>
      <dgm:spPr/>
      <dgm:t>
        <a:bodyPr/>
        <a:lstStyle/>
        <a:p>
          <a:r>
            <a:rPr lang="fr-FR" dirty="0"/>
            <a:t>Budget de l’année 2019-2020</a:t>
          </a:r>
        </a:p>
      </dgm:t>
    </dgm:pt>
    <dgm:pt modelId="{4958CE84-86D4-4F00-A327-00AE33665046}" type="parTrans" cxnId="{E2EB846E-C2FD-45B9-92F6-FC7029E76BCD}">
      <dgm:prSet/>
      <dgm:spPr/>
      <dgm:t>
        <a:bodyPr/>
        <a:lstStyle/>
        <a:p>
          <a:endParaRPr lang="fr-FR"/>
        </a:p>
      </dgm:t>
    </dgm:pt>
    <dgm:pt modelId="{C2FE75A2-C913-4FDA-9254-82FB0AA704AF}" type="sibTrans" cxnId="{E2EB846E-C2FD-45B9-92F6-FC7029E76BCD}">
      <dgm:prSet/>
      <dgm:spPr/>
      <dgm:t>
        <a:bodyPr/>
        <a:lstStyle/>
        <a:p>
          <a:endParaRPr lang="fr-FR"/>
        </a:p>
      </dgm:t>
    </dgm:pt>
    <dgm:pt modelId="{46920587-6ADF-487C-A6CC-4BF0E01A8F22}">
      <dgm:prSet/>
      <dgm:spPr/>
      <dgm:t>
        <a:bodyPr/>
        <a:lstStyle/>
        <a:p>
          <a:r>
            <a:rPr lang="fr-FR" dirty="0"/>
            <a:t>Questions diverses</a:t>
          </a:r>
        </a:p>
      </dgm:t>
    </dgm:pt>
    <dgm:pt modelId="{0854CC6C-A34F-4B95-BBEE-6823DA7EA113}" type="parTrans" cxnId="{EF6C7FEC-8798-4E56-9345-B09CB163E92E}">
      <dgm:prSet/>
      <dgm:spPr/>
      <dgm:t>
        <a:bodyPr/>
        <a:lstStyle/>
        <a:p>
          <a:endParaRPr lang="fr-FR"/>
        </a:p>
      </dgm:t>
    </dgm:pt>
    <dgm:pt modelId="{4DDB3BF6-8E7D-4FA0-B62E-B7A582759CB2}" type="sibTrans" cxnId="{EF6C7FEC-8798-4E56-9345-B09CB163E92E}">
      <dgm:prSet/>
      <dgm:spPr/>
      <dgm:t>
        <a:bodyPr/>
        <a:lstStyle/>
        <a:p>
          <a:endParaRPr lang="fr-FR"/>
        </a:p>
      </dgm:t>
    </dgm:pt>
    <dgm:pt modelId="{86E24C16-519B-4793-8915-B2499FE27003}">
      <dgm:prSet phldrT="[Texte]"/>
      <dgm:spPr/>
      <dgm:t>
        <a:bodyPr/>
        <a:lstStyle/>
        <a:p>
          <a:r>
            <a:rPr lang="fr-FR" dirty="0"/>
            <a:t>Pot de l’amitié</a:t>
          </a:r>
        </a:p>
      </dgm:t>
    </dgm:pt>
    <dgm:pt modelId="{FA8C1E0A-056D-4FA4-A824-C975E5DC7993}" type="parTrans" cxnId="{609A0A4B-9C5E-4DDE-8F06-D37CCF8310A4}">
      <dgm:prSet/>
      <dgm:spPr/>
      <dgm:t>
        <a:bodyPr/>
        <a:lstStyle/>
        <a:p>
          <a:endParaRPr lang="fr-FR"/>
        </a:p>
      </dgm:t>
    </dgm:pt>
    <dgm:pt modelId="{F0A05A82-0E47-41E7-8EB5-7BA8C895522E}" type="sibTrans" cxnId="{609A0A4B-9C5E-4DDE-8F06-D37CCF8310A4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7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7"/>
      <dgm:spPr/>
    </dgm:pt>
    <dgm:pt modelId="{4485BF69-EF87-4AEE-AFDF-DE2F8D2ACCD9}" type="pres">
      <dgm:prSet presAssocID="{F010CF21-4A6D-44EF-A02C-3D5169816247}" presName="dstNode" presStyleLbl="node1" presStyleIdx="0" presStyleCnt="7"/>
      <dgm:spPr/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7"/>
      <dgm:spPr/>
    </dgm:pt>
    <dgm:pt modelId="{83028C3D-3462-40F1-B533-49AD39D55EB5}" type="pres">
      <dgm:prSet presAssocID="{101A5E29-5A4A-4CE0-869C-01DD8BDA9B24}" presName="text_2" presStyleLbl="node1" presStyleIdx="1" presStyleCnt="7">
        <dgm:presLayoutVars>
          <dgm:bulletEnabled val="1"/>
        </dgm:presLayoutVars>
      </dgm:prSet>
      <dgm:spPr/>
    </dgm:pt>
    <dgm:pt modelId="{12178B58-3E13-40FA-8289-B59061E23F70}" type="pres">
      <dgm:prSet presAssocID="{101A5E29-5A4A-4CE0-869C-01DD8BDA9B24}" presName="accent_2" presStyleCnt="0"/>
      <dgm:spPr/>
    </dgm:pt>
    <dgm:pt modelId="{5E99B3DE-52C3-41E4-96C0-C88197D89799}" type="pres">
      <dgm:prSet presAssocID="{101A5E29-5A4A-4CE0-869C-01DD8BDA9B24}" presName="accentRepeatNode" presStyleLbl="solidFgAcc1" presStyleIdx="1" presStyleCnt="7"/>
      <dgm:spPr/>
    </dgm:pt>
    <dgm:pt modelId="{BA8BD63E-9A5C-4A6A-A948-315F5A4BBFBF}" type="pres">
      <dgm:prSet presAssocID="{88DDED17-2798-4069-8538-38625DEDFB50}" presName="text_3" presStyleLbl="node1" presStyleIdx="2" presStyleCnt="7">
        <dgm:presLayoutVars>
          <dgm:bulletEnabled val="1"/>
        </dgm:presLayoutVars>
      </dgm:prSet>
      <dgm:spPr/>
    </dgm:pt>
    <dgm:pt modelId="{7CEFCE83-FAAB-435E-8C0B-449A9EEF3E08}" type="pres">
      <dgm:prSet presAssocID="{88DDED17-2798-4069-8538-38625DEDFB50}" presName="accent_3" presStyleCnt="0"/>
      <dgm:spPr/>
    </dgm:pt>
    <dgm:pt modelId="{34C195B1-459A-4853-A2D7-ECE472FA0371}" type="pres">
      <dgm:prSet presAssocID="{88DDED17-2798-4069-8538-38625DEDFB50}" presName="accentRepeatNode" presStyleLbl="solidFgAcc1" presStyleIdx="2" presStyleCnt="7"/>
      <dgm:spPr/>
    </dgm:pt>
    <dgm:pt modelId="{7B81900D-BA51-4B71-94E7-D2199514CADC}" type="pres">
      <dgm:prSet presAssocID="{755D21F9-B36E-4146-B827-387208FBAAA6}" presName="text_4" presStyleLbl="node1" presStyleIdx="3" presStyleCnt="7">
        <dgm:presLayoutVars>
          <dgm:bulletEnabled val="1"/>
        </dgm:presLayoutVars>
      </dgm:prSet>
      <dgm:spPr/>
    </dgm:pt>
    <dgm:pt modelId="{9DA6149A-C8C0-452C-98D3-6BFEE546F027}" type="pres">
      <dgm:prSet presAssocID="{755D21F9-B36E-4146-B827-387208FBAAA6}" presName="accent_4" presStyleCnt="0"/>
      <dgm:spPr/>
    </dgm:pt>
    <dgm:pt modelId="{DDD87EFA-4E1F-4750-BCCB-ABF085E1F04F}" type="pres">
      <dgm:prSet presAssocID="{755D21F9-B36E-4146-B827-387208FBAAA6}" presName="accentRepeatNode" presStyleLbl="solidFgAcc1" presStyleIdx="3" presStyleCnt="7"/>
      <dgm:spPr/>
    </dgm:pt>
    <dgm:pt modelId="{DB0F0BCD-CC6E-44BA-85FC-CEB193B21374}" type="pres">
      <dgm:prSet presAssocID="{F9B64D59-0413-4F94-8B9E-1CE3651713F4}" presName="text_5" presStyleLbl="node1" presStyleIdx="4" presStyleCnt="7">
        <dgm:presLayoutVars>
          <dgm:bulletEnabled val="1"/>
        </dgm:presLayoutVars>
      </dgm:prSet>
      <dgm:spPr/>
    </dgm:pt>
    <dgm:pt modelId="{7DF0F20D-6864-457F-9454-735EA56AC2E5}" type="pres">
      <dgm:prSet presAssocID="{F9B64D59-0413-4F94-8B9E-1CE3651713F4}" presName="accent_5" presStyleCnt="0"/>
      <dgm:spPr/>
    </dgm:pt>
    <dgm:pt modelId="{6203C8AD-E700-4909-A5B7-0AB9CAE64FC2}" type="pres">
      <dgm:prSet presAssocID="{F9B64D59-0413-4F94-8B9E-1CE3651713F4}" presName="accentRepeatNode" presStyleLbl="solidFgAcc1" presStyleIdx="4" presStyleCnt="7"/>
      <dgm:spPr/>
    </dgm:pt>
    <dgm:pt modelId="{A3F47A89-70C7-428E-8B51-ECC0D096D4FB}" type="pres">
      <dgm:prSet presAssocID="{46920587-6ADF-487C-A6CC-4BF0E01A8F22}" presName="text_6" presStyleLbl="node1" presStyleIdx="5" presStyleCnt="7">
        <dgm:presLayoutVars>
          <dgm:bulletEnabled val="1"/>
        </dgm:presLayoutVars>
      </dgm:prSet>
      <dgm:spPr/>
    </dgm:pt>
    <dgm:pt modelId="{9000CF53-CC77-4393-B519-3A82016F8A1D}" type="pres">
      <dgm:prSet presAssocID="{46920587-6ADF-487C-A6CC-4BF0E01A8F22}" presName="accent_6" presStyleCnt="0"/>
      <dgm:spPr/>
    </dgm:pt>
    <dgm:pt modelId="{A0CFC290-0B13-4ABB-9D7C-FEE2A50A67FC}" type="pres">
      <dgm:prSet presAssocID="{46920587-6ADF-487C-A6CC-4BF0E01A8F22}" presName="accentRepeatNode" presStyleLbl="solidFgAcc1" presStyleIdx="5" presStyleCnt="7"/>
      <dgm:spPr/>
    </dgm:pt>
    <dgm:pt modelId="{86E2A5C5-9E85-464E-8023-EFDB4900ACC9}" type="pres">
      <dgm:prSet presAssocID="{86E24C16-519B-4793-8915-B2499FE27003}" presName="text_7" presStyleLbl="node1" presStyleIdx="6" presStyleCnt="7">
        <dgm:presLayoutVars>
          <dgm:bulletEnabled val="1"/>
        </dgm:presLayoutVars>
      </dgm:prSet>
      <dgm:spPr/>
    </dgm:pt>
    <dgm:pt modelId="{73160259-CB18-48B7-9CF3-64295AB97B45}" type="pres">
      <dgm:prSet presAssocID="{86E24C16-519B-4793-8915-B2499FE27003}" presName="accent_7" presStyleCnt="0"/>
      <dgm:spPr/>
    </dgm:pt>
    <dgm:pt modelId="{AEDBD444-21DD-48F7-97E9-920D9B389BB1}" type="pres">
      <dgm:prSet presAssocID="{86E24C16-519B-4793-8915-B2499FE27003}" presName="accentRepeatNode" presStyleLbl="solidFgAcc1" presStyleIdx="6" presStyleCnt="7"/>
      <dgm:spPr/>
    </dgm:pt>
  </dgm:ptLst>
  <dgm:cxnLst>
    <dgm:cxn modelId="{698D120A-1E9B-4B2C-B316-A29338018490}" type="presOf" srcId="{F9B64D59-0413-4F94-8B9E-1CE3651713F4}" destId="{DB0F0BCD-CC6E-44BA-85FC-CEB193B21374}" srcOrd="0" destOrd="0" presId="urn:microsoft.com/office/officeart/2008/layout/VerticalCurvedList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F33BD73F-D887-422B-92A4-1CC1816A5DA1}" type="presOf" srcId="{755D21F9-B36E-4146-B827-387208FBAAA6}" destId="{7B81900D-BA51-4B71-94E7-D2199514CADC}" srcOrd="0" destOrd="0" presId="urn:microsoft.com/office/officeart/2008/layout/VerticalCurvedList"/>
    <dgm:cxn modelId="{1480C966-6F8A-4473-A0FF-61FFFDB5D757}" type="presOf" srcId="{101A5E29-5A4A-4CE0-869C-01DD8BDA9B24}" destId="{83028C3D-3462-40F1-B533-49AD39D55EB5}" srcOrd="0" destOrd="0" presId="urn:microsoft.com/office/officeart/2008/layout/VerticalCurvedList"/>
    <dgm:cxn modelId="{609A0A4B-9C5E-4DDE-8F06-D37CCF8310A4}" srcId="{F010CF21-4A6D-44EF-A02C-3D5169816247}" destId="{86E24C16-519B-4793-8915-B2499FE27003}" srcOrd="6" destOrd="0" parTransId="{FA8C1E0A-056D-4FA4-A824-C975E5DC7993}" sibTransId="{F0A05A82-0E47-41E7-8EB5-7BA8C895522E}"/>
    <dgm:cxn modelId="{E2EB846E-C2FD-45B9-92F6-FC7029E76BCD}" srcId="{F010CF21-4A6D-44EF-A02C-3D5169816247}" destId="{F9B64D59-0413-4F94-8B9E-1CE3651713F4}" srcOrd="4" destOrd="0" parTransId="{4958CE84-86D4-4F00-A327-00AE33665046}" sibTransId="{C2FE75A2-C913-4FDA-9254-82FB0AA704AF}"/>
    <dgm:cxn modelId="{000C7372-D3C4-46F1-B58C-FF96C70C7FD3}" type="presOf" srcId="{46920587-6ADF-487C-A6CC-4BF0E01A8F22}" destId="{A3F47A89-70C7-428E-8B51-ECC0D096D4FB}" srcOrd="0" destOrd="0" presId="urn:microsoft.com/office/officeart/2008/layout/VerticalCurvedList"/>
    <dgm:cxn modelId="{27756787-7008-498D-AD6A-902314A97038}" srcId="{F010CF21-4A6D-44EF-A02C-3D5169816247}" destId="{88DDED17-2798-4069-8538-38625DEDFB50}" srcOrd="2" destOrd="0" parTransId="{0A4C901A-8488-4D5E-863E-3B94DDC904BD}" sibTransId="{72B46680-01FF-4E44-85A6-4FB965E66959}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B8C909AE-5ED1-45E5-AF7F-8AD95C19B8C5}" srcId="{F010CF21-4A6D-44EF-A02C-3D5169816247}" destId="{755D21F9-B36E-4146-B827-387208FBAAA6}" srcOrd="3" destOrd="0" parTransId="{C9B3AC93-D7D9-48B6-9D91-3032096645E1}" sibTransId="{D2B5B5F1-00EF-4F3B-8872-B8CD3E14BE4C}"/>
    <dgm:cxn modelId="{64309DC0-AB06-4CAD-9465-2A93C1F11CD1}" srcId="{F010CF21-4A6D-44EF-A02C-3D5169816247}" destId="{101A5E29-5A4A-4CE0-869C-01DD8BDA9B24}" srcOrd="1" destOrd="0" parTransId="{F7D44679-2ABA-405C-A035-163E4D1F455A}" sibTransId="{C17139A8-25EF-4E02-801F-654F7F27D3DA}"/>
    <dgm:cxn modelId="{C0B9DACF-D3C9-41F1-92C7-1010F3C1F521}" type="presOf" srcId="{88DDED17-2798-4069-8538-38625DEDFB50}" destId="{BA8BD63E-9A5C-4A6A-A948-315F5A4BBFBF}" srcOrd="0" destOrd="0" presId="urn:microsoft.com/office/officeart/2008/layout/VerticalCurvedList"/>
    <dgm:cxn modelId="{EF6C7FEC-8798-4E56-9345-B09CB163E92E}" srcId="{F010CF21-4A6D-44EF-A02C-3D5169816247}" destId="{46920587-6ADF-487C-A6CC-4BF0E01A8F22}" srcOrd="5" destOrd="0" parTransId="{0854CC6C-A34F-4B95-BBEE-6823DA7EA113}" sibTransId="{4DDB3BF6-8E7D-4FA0-B62E-B7A582759CB2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8C1BF8F5-70AB-4E2E-B26A-0B1FD283B1C2}" type="presOf" srcId="{86E24C16-519B-4793-8915-B2499FE27003}" destId="{86E2A5C5-9E85-464E-8023-EFDB4900ACC9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08C87C1D-9234-494A-8603-CF6629007FCE}" type="presParOf" srcId="{43AFC4E7-46DA-4B7B-B201-0A406A05CAD2}" destId="{83028C3D-3462-40F1-B533-49AD39D55EB5}" srcOrd="3" destOrd="0" presId="urn:microsoft.com/office/officeart/2008/layout/VerticalCurvedList"/>
    <dgm:cxn modelId="{93DCAB5F-4A12-4A4A-A4D1-3B54BAFAB208}" type="presParOf" srcId="{43AFC4E7-46DA-4B7B-B201-0A406A05CAD2}" destId="{12178B58-3E13-40FA-8289-B59061E23F70}" srcOrd="4" destOrd="0" presId="urn:microsoft.com/office/officeart/2008/layout/VerticalCurvedList"/>
    <dgm:cxn modelId="{F71C580B-8B97-4AAE-9358-47920656E5AD}" type="presParOf" srcId="{12178B58-3E13-40FA-8289-B59061E23F70}" destId="{5E99B3DE-52C3-41E4-96C0-C88197D89799}" srcOrd="0" destOrd="0" presId="urn:microsoft.com/office/officeart/2008/layout/VerticalCurvedList"/>
    <dgm:cxn modelId="{F736BFA8-8FFF-4555-81CA-674B9909C0E3}" type="presParOf" srcId="{43AFC4E7-46DA-4B7B-B201-0A406A05CAD2}" destId="{BA8BD63E-9A5C-4A6A-A948-315F5A4BBFBF}" srcOrd="5" destOrd="0" presId="urn:microsoft.com/office/officeart/2008/layout/VerticalCurvedList"/>
    <dgm:cxn modelId="{B6885212-B0E9-41C8-AA73-0F39E5C9A7DE}" type="presParOf" srcId="{43AFC4E7-46DA-4B7B-B201-0A406A05CAD2}" destId="{7CEFCE83-FAAB-435E-8C0B-449A9EEF3E08}" srcOrd="6" destOrd="0" presId="urn:microsoft.com/office/officeart/2008/layout/VerticalCurvedList"/>
    <dgm:cxn modelId="{6A51AE82-22E5-4A84-976B-AC5AFF2A1250}" type="presParOf" srcId="{7CEFCE83-FAAB-435E-8C0B-449A9EEF3E08}" destId="{34C195B1-459A-4853-A2D7-ECE472FA0371}" srcOrd="0" destOrd="0" presId="urn:microsoft.com/office/officeart/2008/layout/VerticalCurvedList"/>
    <dgm:cxn modelId="{3075AB3E-9F4C-4F84-8842-1CAB0BD2456C}" type="presParOf" srcId="{43AFC4E7-46DA-4B7B-B201-0A406A05CAD2}" destId="{7B81900D-BA51-4B71-94E7-D2199514CADC}" srcOrd="7" destOrd="0" presId="urn:microsoft.com/office/officeart/2008/layout/VerticalCurvedList"/>
    <dgm:cxn modelId="{AEF03216-92D5-4ACC-8AD0-80B646F2552E}" type="presParOf" srcId="{43AFC4E7-46DA-4B7B-B201-0A406A05CAD2}" destId="{9DA6149A-C8C0-452C-98D3-6BFEE546F027}" srcOrd="8" destOrd="0" presId="urn:microsoft.com/office/officeart/2008/layout/VerticalCurvedList"/>
    <dgm:cxn modelId="{18C48870-AC7B-4233-A7B2-A9A32ADD8E57}" type="presParOf" srcId="{9DA6149A-C8C0-452C-98D3-6BFEE546F027}" destId="{DDD87EFA-4E1F-4750-BCCB-ABF085E1F04F}" srcOrd="0" destOrd="0" presId="urn:microsoft.com/office/officeart/2008/layout/VerticalCurvedList"/>
    <dgm:cxn modelId="{226EE54B-8675-405B-9A91-6A3EC101223D}" type="presParOf" srcId="{43AFC4E7-46DA-4B7B-B201-0A406A05CAD2}" destId="{DB0F0BCD-CC6E-44BA-85FC-CEB193B21374}" srcOrd="9" destOrd="0" presId="urn:microsoft.com/office/officeart/2008/layout/VerticalCurvedList"/>
    <dgm:cxn modelId="{1AA952D6-E89C-417E-A475-BF3E758E385B}" type="presParOf" srcId="{43AFC4E7-46DA-4B7B-B201-0A406A05CAD2}" destId="{7DF0F20D-6864-457F-9454-735EA56AC2E5}" srcOrd="10" destOrd="0" presId="urn:microsoft.com/office/officeart/2008/layout/VerticalCurvedList"/>
    <dgm:cxn modelId="{1AD77BA2-56E3-4332-B88D-50EB794CD37B}" type="presParOf" srcId="{7DF0F20D-6864-457F-9454-735EA56AC2E5}" destId="{6203C8AD-E700-4909-A5B7-0AB9CAE64FC2}" srcOrd="0" destOrd="0" presId="urn:microsoft.com/office/officeart/2008/layout/VerticalCurvedList"/>
    <dgm:cxn modelId="{FD9D80FA-3366-4025-AFAA-F02FE50245FE}" type="presParOf" srcId="{43AFC4E7-46DA-4B7B-B201-0A406A05CAD2}" destId="{A3F47A89-70C7-428E-8B51-ECC0D096D4FB}" srcOrd="11" destOrd="0" presId="urn:microsoft.com/office/officeart/2008/layout/VerticalCurvedList"/>
    <dgm:cxn modelId="{6611F773-A08C-499C-B320-2CDD554D1BF9}" type="presParOf" srcId="{43AFC4E7-46DA-4B7B-B201-0A406A05CAD2}" destId="{9000CF53-CC77-4393-B519-3A82016F8A1D}" srcOrd="12" destOrd="0" presId="urn:microsoft.com/office/officeart/2008/layout/VerticalCurvedList"/>
    <dgm:cxn modelId="{E6A0F6B6-2E80-4EA5-97B7-1A8694668986}" type="presParOf" srcId="{9000CF53-CC77-4393-B519-3A82016F8A1D}" destId="{A0CFC290-0B13-4ABB-9D7C-FEE2A50A67FC}" srcOrd="0" destOrd="0" presId="urn:microsoft.com/office/officeart/2008/layout/VerticalCurvedList"/>
    <dgm:cxn modelId="{6CF025A8-D6CB-47B1-99B0-E9C3DB4CCD7C}" type="presParOf" srcId="{43AFC4E7-46DA-4B7B-B201-0A406A05CAD2}" destId="{86E2A5C5-9E85-464E-8023-EFDB4900ACC9}" srcOrd="13" destOrd="0" presId="urn:microsoft.com/office/officeart/2008/layout/VerticalCurvedList"/>
    <dgm:cxn modelId="{B7166BE5-EE94-4594-9F1F-8AE6989A566A}" type="presParOf" srcId="{43AFC4E7-46DA-4B7B-B201-0A406A05CAD2}" destId="{73160259-CB18-48B7-9CF3-64295AB97B45}" srcOrd="14" destOrd="0" presId="urn:microsoft.com/office/officeart/2008/layout/VerticalCurvedList"/>
    <dgm:cxn modelId="{C4B91CDF-A04A-4D35-BBD7-4CC1B56ECF66}" type="presParOf" srcId="{73160259-CB18-48B7-9CF3-64295AB97B45}" destId="{AEDBD444-21DD-48F7-97E9-920D9B389BB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6E0B37E-2503-4229-AD6A-444679792D79}">
      <dgm:prSet/>
      <dgm:spPr/>
      <dgm:t>
        <a:bodyPr/>
        <a:lstStyle/>
        <a:p>
          <a:r>
            <a:rPr lang="fr-FR" dirty="0"/>
            <a:t>Rapport financier de l’année 2018-2019</a:t>
          </a:r>
        </a:p>
      </dgm:t>
    </dgm:pt>
    <dgm:pt modelId="{20272342-FFF1-4CDD-A9A0-17546963B5EE}" type="parTrans" cxnId="{35EF9927-603C-4B25-87C2-F3D28D64608F}">
      <dgm:prSet/>
      <dgm:spPr/>
      <dgm:t>
        <a:bodyPr/>
        <a:lstStyle/>
        <a:p>
          <a:endParaRPr lang="fr-FR"/>
        </a:p>
      </dgm:t>
    </dgm:pt>
    <dgm:pt modelId="{2EE65829-65BC-4B80-85A7-D5AF7B400F3D}" type="sibTrans" cxnId="{35EF9927-603C-4B25-87C2-F3D28D64608F}">
      <dgm:prSet/>
      <dgm:spPr/>
      <dgm:t>
        <a:bodyPr/>
        <a:lstStyle/>
        <a:p>
          <a:endParaRPr lang="fr-FR"/>
        </a:p>
      </dgm:t>
    </dgm:pt>
    <dgm:pt modelId="{D8401E37-D770-44B9-8320-02FC5B021DE4}">
      <dgm:prSet/>
      <dgm:spPr/>
      <dgm:t>
        <a:bodyPr/>
        <a:lstStyle/>
        <a:p>
          <a:r>
            <a:rPr lang="fr-FR" dirty="0"/>
            <a:t>Élections au Conseil d’Administration </a:t>
          </a:r>
        </a:p>
      </dgm:t>
    </dgm:pt>
    <dgm:pt modelId="{547E07C8-7D4F-4DDF-9E4E-CC420F48B557}" type="parTrans" cxnId="{887CBAFA-63F9-498B-83BE-58474106B3B0}">
      <dgm:prSet/>
      <dgm:spPr/>
      <dgm:t>
        <a:bodyPr/>
        <a:lstStyle/>
        <a:p>
          <a:endParaRPr lang="fr-FR"/>
        </a:p>
      </dgm:t>
    </dgm:pt>
    <dgm:pt modelId="{69973CF4-9832-4DEE-96D9-EF8195AC893A}" type="sibTrans" cxnId="{887CBAFA-63F9-498B-83BE-58474106B3B0}">
      <dgm:prSet/>
      <dgm:spPr/>
      <dgm:t>
        <a:bodyPr/>
        <a:lstStyle/>
        <a:p>
          <a:endParaRPr lang="fr-FR"/>
        </a:p>
      </dgm:t>
    </dgm:pt>
    <dgm:pt modelId="{2AE45CDF-616C-4FC4-AE3C-D68B10531385}">
      <dgm:prSet/>
      <dgm:spPr/>
      <dgm:t>
        <a:bodyPr/>
        <a:lstStyle/>
        <a:p>
          <a:r>
            <a:rPr lang="fr-FR" dirty="0"/>
            <a:t>Les rendez-vous 2019-2020</a:t>
          </a:r>
        </a:p>
      </dgm:t>
    </dgm:pt>
    <dgm:pt modelId="{125B95EE-2765-46C7-96F5-D3875EC80101}" type="parTrans" cxnId="{62BA5F23-5B77-40F6-AF6C-77307299A6A3}">
      <dgm:prSet/>
      <dgm:spPr/>
      <dgm:t>
        <a:bodyPr/>
        <a:lstStyle/>
        <a:p>
          <a:endParaRPr lang="fr-FR"/>
        </a:p>
      </dgm:t>
    </dgm:pt>
    <dgm:pt modelId="{EF3C0AE1-BAD7-4C66-95A0-516459DBC6E3}" type="sibTrans" cxnId="{62BA5F23-5B77-40F6-AF6C-77307299A6A3}">
      <dgm:prSet/>
      <dgm:spPr/>
      <dgm:t>
        <a:bodyPr/>
        <a:lstStyle/>
        <a:p>
          <a:endParaRPr lang="fr-FR"/>
        </a:p>
      </dgm:t>
    </dgm:pt>
    <dgm:pt modelId="{953484C7-DED2-48C8-A863-B1A57869487C}">
      <dgm:prSet/>
      <dgm:spPr/>
      <dgm:t>
        <a:bodyPr/>
        <a:lstStyle/>
        <a:p>
          <a:r>
            <a:rPr lang="fr-FR" dirty="0"/>
            <a:t>Budget de l’année 2019-2020</a:t>
          </a:r>
        </a:p>
      </dgm:t>
    </dgm:pt>
    <dgm:pt modelId="{09727E3B-9519-42BA-988A-23ED6C4D5EF6}" type="parTrans" cxnId="{5CB1F0D6-2982-4FC5-A0E8-E82542B649BC}">
      <dgm:prSet/>
      <dgm:spPr/>
      <dgm:t>
        <a:bodyPr/>
        <a:lstStyle/>
        <a:p>
          <a:endParaRPr lang="fr-FR"/>
        </a:p>
      </dgm:t>
    </dgm:pt>
    <dgm:pt modelId="{05CC4369-50AD-4CE0-9FA1-B5958ADD1571}" type="sibTrans" cxnId="{5CB1F0D6-2982-4FC5-A0E8-E82542B649BC}">
      <dgm:prSet/>
      <dgm:spPr/>
      <dgm:t>
        <a:bodyPr/>
        <a:lstStyle/>
        <a:p>
          <a:endParaRPr lang="fr-FR"/>
        </a:p>
      </dgm:t>
    </dgm:pt>
    <dgm:pt modelId="{6471D3C1-0D21-44A8-A832-E4B8A3E8AE0E}">
      <dgm:prSet/>
      <dgm:spPr/>
      <dgm:t>
        <a:bodyPr/>
        <a:lstStyle/>
        <a:p>
          <a:r>
            <a:rPr lang="fr-FR" dirty="0"/>
            <a:t>Questions diverses</a:t>
          </a:r>
        </a:p>
      </dgm:t>
    </dgm:pt>
    <dgm:pt modelId="{4EE9EB0D-F2DE-448E-8FA2-A975A76566E7}" type="parTrans" cxnId="{D1D351B2-DDE5-4D4D-9B02-3B8A3E572FF6}">
      <dgm:prSet/>
      <dgm:spPr/>
      <dgm:t>
        <a:bodyPr/>
        <a:lstStyle/>
        <a:p>
          <a:endParaRPr lang="fr-FR"/>
        </a:p>
      </dgm:t>
    </dgm:pt>
    <dgm:pt modelId="{3F2CDC31-EE77-4D14-985D-E6661D01740E}" type="sibTrans" cxnId="{D1D351B2-DDE5-4D4D-9B02-3B8A3E572FF6}">
      <dgm:prSet/>
      <dgm:spPr/>
      <dgm:t>
        <a:bodyPr/>
        <a:lstStyle/>
        <a:p>
          <a:endParaRPr lang="fr-FR"/>
        </a:p>
      </dgm:t>
    </dgm:pt>
    <dgm:pt modelId="{53AB9679-A64D-423F-8B50-987E2F9E57C7}">
      <dgm:prSet phldrT="[Texte]"/>
      <dgm:spPr/>
      <dgm:t>
        <a:bodyPr/>
        <a:lstStyle/>
        <a:p>
          <a:r>
            <a:rPr lang="fr-FR" dirty="0"/>
            <a:t>Pot de l’amitié</a:t>
          </a:r>
        </a:p>
      </dgm:t>
    </dgm:pt>
    <dgm:pt modelId="{C7FC1AF1-4FD3-40B2-932C-D6D4A49A1C4C}" type="parTrans" cxnId="{C8F89EB2-0308-40DF-AED0-58F47A2A9068}">
      <dgm:prSet/>
      <dgm:spPr/>
      <dgm:t>
        <a:bodyPr/>
        <a:lstStyle/>
        <a:p>
          <a:endParaRPr lang="fr-FR"/>
        </a:p>
      </dgm:t>
    </dgm:pt>
    <dgm:pt modelId="{9B73CEED-DDE3-420D-B00D-AD9AB51F4C8D}" type="sibTrans" cxnId="{C8F89EB2-0308-40DF-AED0-58F47A2A9068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7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7"/>
      <dgm:spPr/>
    </dgm:pt>
    <dgm:pt modelId="{4485BF69-EF87-4AEE-AFDF-DE2F8D2ACCD9}" type="pres">
      <dgm:prSet presAssocID="{F010CF21-4A6D-44EF-A02C-3D5169816247}" presName="dstNode" presStyleLbl="node1" presStyleIdx="0" presStyleCnt="7"/>
      <dgm:spPr/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7"/>
      <dgm:spPr/>
    </dgm:pt>
    <dgm:pt modelId="{2E2EB7F9-D66B-4C17-9ADA-82D1A519631D}" type="pres">
      <dgm:prSet presAssocID="{B6E0B37E-2503-4229-AD6A-444679792D79}" presName="text_2" presStyleLbl="node1" presStyleIdx="1" presStyleCnt="7">
        <dgm:presLayoutVars>
          <dgm:bulletEnabled val="1"/>
        </dgm:presLayoutVars>
      </dgm:prSet>
      <dgm:spPr/>
    </dgm:pt>
    <dgm:pt modelId="{28A1A880-F028-4E6B-B818-12652ED1ACF8}" type="pres">
      <dgm:prSet presAssocID="{B6E0B37E-2503-4229-AD6A-444679792D79}" presName="accent_2" presStyleCnt="0"/>
      <dgm:spPr/>
    </dgm:pt>
    <dgm:pt modelId="{154D625C-3544-476D-9B7D-B160FEFAA978}" type="pres">
      <dgm:prSet presAssocID="{B6E0B37E-2503-4229-AD6A-444679792D79}" presName="accentRepeatNode" presStyleLbl="solidFgAcc1" presStyleIdx="1" presStyleCnt="7"/>
      <dgm:spPr/>
    </dgm:pt>
    <dgm:pt modelId="{6769CEE8-0836-4345-83E6-80EA73D834CB}" type="pres">
      <dgm:prSet presAssocID="{D8401E37-D770-44B9-8320-02FC5B021DE4}" presName="text_3" presStyleLbl="node1" presStyleIdx="2" presStyleCnt="7">
        <dgm:presLayoutVars>
          <dgm:bulletEnabled val="1"/>
        </dgm:presLayoutVars>
      </dgm:prSet>
      <dgm:spPr/>
    </dgm:pt>
    <dgm:pt modelId="{BE0FEE6B-F88C-4882-8651-6E0D8D5DCCA0}" type="pres">
      <dgm:prSet presAssocID="{D8401E37-D770-44B9-8320-02FC5B021DE4}" presName="accent_3" presStyleCnt="0"/>
      <dgm:spPr/>
    </dgm:pt>
    <dgm:pt modelId="{2B446D06-E9AD-4375-A51E-FB5B2A1C3E23}" type="pres">
      <dgm:prSet presAssocID="{D8401E37-D770-44B9-8320-02FC5B021DE4}" presName="accentRepeatNode" presStyleLbl="solidFgAcc1" presStyleIdx="2" presStyleCnt="7"/>
      <dgm:spPr/>
    </dgm:pt>
    <dgm:pt modelId="{EF5CD01E-7382-4075-9EDC-9B660C86D9C6}" type="pres">
      <dgm:prSet presAssocID="{2AE45CDF-616C-4FC4-AE3C-D68B10531385}" presName="text_4" presStyleLbl="node1" presStyleIdx="3" presStyleCnt="7">
        <dgm:presLayoutVars>
          <dgm:bulletEnabled val="1"/>
        </dgm:presLayoutVars>
      </dgm:prSet>
      <dgm:spPr/>
    </dgm:pt>
    <dgm:pt modelId="{45513FCB-18C6-4C6D-817D-995A770C0381}" type="pres">
      <dgm:prSet presAssocID="{2AE45CDF-616C-4FC4-AE3C-D68B10531385}" presName="accent_4" presStyleCnt="0"/>
      <dgm:spPr/>
    </dgm:pt>
    <dgm:pt modelId="{233C9E3B-2890-4E96-BFE4-C0B455C462B1}" type="pres">
      <dgm:prSet presAssocID="{2AE45CDF-616C-4FC4-AE3C-D68B10531385}" presName="accentRepeatNode" presStyleLbl="solidFgAcc1" presStyleIdx="3" presStyleCnt="7"/>
      <dgm:spPr/>
    </dgm:pt>
    <dgm:pt modelId="{348692DB-059F-4FCD-9FCC-F27667A08A01}" type="pres">
      <dgm:prSet presAssocID="{953484C7-DED2-48C8-A863-B1A57869487C}" presName="text_5" presStyleLbl="node1" presStyleIdx="4" presStyleCnt="7">
        <dgm:presLayoutVars>
          <dgm:bulletEnabled val="1"/>
        </dgm:presLayoutVars>
      </dgm:prSet>
      <dgm:spPr/>
    </dgm:pt>
    <dgm:pt modelId="{1FBC8BAB-0B4C-461C-9E5C-DD5B1A00182B}" type="pres">
      <dgm:prSet presAssocID="{953484C7-DED2-48C8-A863-B1A57869487C}" presName="accent_5" presStyleCnt="0"/>
      <dgm:spPr/>
    </dgm:pt>
    <dgm:pt modelId="{C831524B-9812-4A93-ABD9-73730C123FDD}" type="pres">
      <dgm:prSet presAssocID="{953484C7-DED2-48C8-A863-B1A57869487C}" presName="accentRepeatNode" presStyleLbl="solidFgAcc1" presStyleIdx="4" presStyleCnt="7"/>
      <dgm:spPr/>
    </dgm:pt>
    <dgm:pt modelId="{DC22DB21-CA16-482C-9E91-63AF82A98035}" type="pres">
      <dgm:prSet presAssocID="{6471D3C1-0D21-44A8-A832-E4B8A3E8AE0E}" presName="text_6" presStyleLbl="node1" presStyleIdx="5" presStyleCnt="7">
        <dgm:presLayoutVars>
          <dgm:bulletEnabled val="1"/>
        </dgm:presLayoutVars>
      </dgm:prSet>
      <dgm:spPr/>
    </dgm:pt>
    <dgm:pt modelId="{748EA3FE-E0D2-4BB3-B2FA-699E3A857F07}" type="pres">
      <dgm:prSet presAssocID="{6471D3C1-0D21-44A8-A832-E4B8A3E8AE0E}" presName="accent_6" presStyleCnt="0"/>
      <dgm:spPr/>
    </dgm:pt>
    <dgm:pt modelId="{988A8B49-38D0-4B1C-A5A9-0ECE9A1F67E3}" type="pres">
      <dgm:prSet presAssocID="{6471D3C1-0D21-44A8-A832-E4B8A3E8AE0E}" presName="accentRepeatNode" presStyleLbl="solidFgAcc1" presStyleIdx="5" presStyleCnt="7"/>
      <dgm:spPr/>
    </dgm:pt>
    <dgm:pt modelId="{052E69EE-39FA-4239-BE1D-20B96DBE252A}" type="pres">
      <dgm:prSet presAssocID="{53AB9679-A64D-423F-8B50-987E2F9E57C7}" presName="text_7" presStyleLbl="node1" presStyleIdx="6" presStyleCnt="7">
        <dgm:presLayoutVars>
          <dgm:bulletEnabled val="1"/>
        </dgm:presLayoutVars>
      </dgm:prSet>
      <dgm:spPr/>
    </dgm:pt>
    <dgm:pt modelId="{CD06372B-DEAC-4D68-A392-9B2FC0120323}" type="pres">
      <dgm:prSet presAssocID="{53AB9679-A64D-423F-8B50-987E2F9E57C7}" presName="accent_7" presStyleCnt="0"/>
      <dgm:spPr/>
    </dgm:pt>
    <dgm:pt modelId="{3C4CE949-703D-44A1-B632-81B4622E495B}" type="pres">
      <dgm:prSet presAssocID="{53AB9679-A64D-423F-8B50-987E2F9E57C7}" presName="accentRepeatNode" presStyleLbl="solidFgAcc1" presStyleIdx="6" presStyleCnt="7"/>
      <dgm:spPr/>
    </dgm:pt>
  </dgm:ptLst>
  <dgm:cxnLst>
    <dgm:cxn modelId="{62BA5F23-5B77-40F6-AF6C-77307299A6A3}" srcId="{F010CF21-4A6D-44EF-A02C-3D5169816247}" destId="{2AE45CDF-616C-4FC4-AE3C-D68B10531385}" srcOrd="3" destOrd="0" parTransId="{125B95EE-2765-46C7-96F5-D3875EC80101}" sibTransId="{EF3C0AE1-BAD7-4C66-95A0-516459DBC6E3}"/>
    <dgm:cxn modelId="{35EF9927-603C-4B25-87C2-F3D28D64608F}" srcId="{F010CF21-4A6D-44EF-A02C-3D5169816247}" destId="{B6E0B37E-2503-4229-AD6A-444679792D79}" srcOrd="1" destOrd="0" parTransId="{20272342-FFF1-4CDD-A9A0-17546963B5EE}" sibTransId="{2EE65829-65BC-4B80-85A7-D5AF7B400F3D}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E1A1A05C-7AA8-4EAC-BA7A-7E25FF1D6C6C}" type="presOf" srcId="{D8401E37-D770-44B9-8320-02FC5B021DE4}" destId="{6769CEE8-0836-4345-83E6-80EA73D834CB}" srcOrd="0" destOrd="0" presId="urn:microsoft.com/office/officeart/2008/layout/VerticalCurvedList"/>
    <dgm:cxn modelId="{FEA9DC63-658E-42A7-8A72-7A1CDF853027}" type="presOf" srcId="{53AB9679-A64D-423F-8B50-987E2F9E57C7}" destId="{052E69EE-39FA-4239-BE1D-20B96DBE252A}" srcOrd="0" destOrd="0" presId="urn:microsoft.com/office/officeart/2008/layout/VerticalCurvedList"/>
    <dgm:cxn modelId="{E3225776-89EB-4BB1-A05B-70F083F6E4BB}" type="presOf" srcId="{2AE45CDF-616C-4FC4-AE3C-D68B10531385}" destId="{EF5CD01E-7382-4075-9EDC-9B660C86D9C6}" srcOrd="0" destOrd="0" presId="urn:microsoft.com/office/officeart/2008/layout/VerticalCurvedList"/>
    <dgm:cxn modelId="{25778157-AEC9-45F0-92C3-E209567A5AD7}" type="presOf" srcId="{953484C7-DED2-48C8-A863-B1A57869487C}" destId="{348692DB-059F-4FCD-9FCC-F27667A08A01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C76F2AA3-24DA-468F-B8A3-B4BF7B3E8F9E}" type="presOf" srcId="{B6E0B37E-2503-4229-AD6A-444679792D79}" destId="{2E2EB7F9-D66B-4C17-9ADA-82D1A519631D}" srcOrd="0" destOrd="0" presId="urn:microsoft.com/office/officeart/2008/layout/VerticalCurvedList"/>
    <dgm:cxn modelId="{D1D351B2-DDE5-4D4D-9B02-3B8A3E572FF6}" srcId="{F010CF21-4A6D-44EF-A02C-3D5169816247}" destId="{6471D3C1-0D21-44A8-A832-E4B8A3E8AE0E}" srcOrd="5" destOrd="0" parTransId="{4EE9EB0D-F2DE-448E-8FA2-A975A76566E7}" sibTransId="{3F2CDC31-EE77-4D14-985D-E6661D01740E}"/>
    <dgm:cxn modelId="{C8F89EB2-0308-40DF-AED0-58F47A2A9068}" srcId="{F010CF21-4A6D-44EF-A02C-3D5169816247}" destId="{53AB9679-A64D-423F-8B50-987E2F9E57C7}" srcOrd="6" destOrd="0" parTransId="{C7FC1AF1-4FD3-40B2-932C-D6D4A49A1C4C}" sibTransId="{9B73CEED-DDE3-420D-B00D-AD9AB51F4C8D}"/>
    <dgm:cxn modelId="{5CB1F0D6-2982-4FC5-A0E8-E82542B649BC}" srcId="{F010CF21-4A6D-44EF-A02C-3D5169816247}" destId="{953484C7-DED2-48C8-A863-B1A57869487C}" srcOrd="4" destOrd="0" parTransId="{09727E3B-9519-42BA-988A-23ED6C4D5EF6}" sibTransId="{05CC4369-50AD-4CE0-9FA1-B5958ADD1571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887CBAFA-63F9-498B-83BE-58474106B3B0}" srcId="{F010CF21-4A6D-44EF-A02C-3D5169816247}" destId="{D8401E37-D770-44B9-8320-02FC5B021DE4}" srcOrd="2" destOrd="0" parTransId="{547E07C8-7D4F-4DDF-9E4E-CC420F48B557}" sibTransId="{69973CF4-9832-4DEE-96D9-EF8195AC893A}"/>
    <dgm:cxn modelId="{141A27FB-6CE3-43E1-9A12-A5616BE6AD8D}" type="presOf" srcId="{6471D3C1-0D21-44A8-A832-E4B8A3E8AE0E}" destId="{DC22DB21-CA16-482C-9E91-63AF82A98035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9A454946-5E39-48B8-87A1-190A36E17259}" type="presParOf" srcId="{43AFC4E7-46DA-4B7B-B201-0A406A05CAD2}" destId="{2E2EB7F9-D66B-4C17-9ADA-82D1A519631D}" srcOrd="3" destOrd="0" presId="urn:microsoft.com/office/officeart/2008/layout/VerticalCurvedList"/>
    <dgm:cxn modelId="{C79D7EC7-7236-4125-82AD-F6CF8B197856}" type="presParOf" srcId="{43AFC4E7-46DA-4B7B-B201-0A406A05CAD2}" destId="{28A1A880-F028-4E6B-B818-12652ED1ACF8}" srcOrd="4" destOrd="0" presId="urn:microsoft.com/office/officeart/2008/layout/VerticalCurvedList"/>
    <dgm:cxn modelId="{E35F1F92-2AB2-4553-9F76-518A3A2D7828}" type="presParOf" srcId="{28A1A880-F028-4E6B-B818-12652ED1ACF8}" destId="{154D625C-3544-476D-9B7D-B160FEFAA978}" srcOrd="0" destOrd="0" presId="urn:microsoft.com/office/officeart/2008/layout/VerticalCurvedList"/>
    <dgm:cxn modelId="{2BCEF01A-CA07-40A6-AD14-EDC97BC93802}" type="presParOf" srcId="{43AFC4E7-46DA-4B7B-B201-0A406A05CAD2}" destId="{6769CEE8-0836-4345-83E6-80EA73D834CB}" srcOrd="5" destOrd="0" presId="urn:microsoft.com/office/officeart/2008/layout/VerticalCurvedList"/>
    <dgm:cxn modelId="{F131362D-717F-46B9-BBDB-6C3A37CB8727}" type="presParOf" srcId="{43AFC4E7-46DA-4B7B-B201-0A406A05CAD2}" destId="{BE0FEE6B-F88C-4882-8651-6E0D8D5DCCA0}" srcOrd="6" destOrd="0" presId="urn:microsoft.com/office/officeart/2008/layout/VerticalCurvedList"/>
    <dgm:cxn modelId="{659863F1-B659-48AA-9BFD-388C0457BF0D}" type="presParOf" srcId="{BE0FEE6B-F88C-4882-8651-6E0D8D5DCCA0}" destId="{2B446D06-E9AD-4375-A51E-FB5B2A1C3E23}" srcOrd="0" destOrd="0" presId="urn:microsoft.com/office/officeart/2008/layout/VerticalCurvedList"/>
    <dgm:cxn modelId="{2FEE0B15-0346-4974-931A-30248BC68A3F}" type="presParOf" srcId="{43AFC4E7-46DA-4B7B-B201-0A406A05CAD2}" destId="{EF5CD01E-7382-4075-9EDC-9B660C86D9C6}" srcOrd="7" destOrd="0" presId="urn:microsoft.com/office/officeart/2008/layout/VerticalCurvedList"/>
    <dgm:cxn modelId="{11AFC357-B106-4CB8-A05B-4F679267678B}" type="presParOf" srcId="{43AFC4E7-46DA-4B7B-B201-0A406A05CAD2}" destId="{45513FCB-18C6-4C6D-817D-995A770C0381}" srcOrd="8" destOrd="0" presId="urn:microsoft.com/office/officeart/2008/layout/VerticalCurvedList"/>
    <dgm:cxn modelId="{B2E25DD7-2D17-4390-B2A6-438357F28F62}" type="presParOf" srcId="{45513FCB-18C6-4C6D-817D-995A770C0381}" destId="{233C9E3B-2890-4E96-BFE4-C0B455C462B1}" srcOrd="0" destOrd="0" presId="urn:microsoft.com/office/officeart/2008/layout/VerticalCurvedList"/>
    <dgm:cxn modelId="{F90F76F1-470C-4AE7-B783-D11E418D9C09}" type="presParOf" srcId="{43AFC4E7-46DA-4B7B-B201-0A406A05CAD2}" destId="{348692DB-059F-4FCD-9FCC-F27667A08A01}" srcOrd="9" destOrd="0" presId="urn:microsoft.com/office/officeart/2008/layout/VerticalCurvedList"/>
    <dgm:cxn modelId="{FA83A613-4BD0-40F4-93D3-3A2D32228452}" type="presParOf" srcId="{43AFC4E7-46DA-4B7B-B201-0A406A05CAD2}" destId="{1FBC8BAB-0B4C-461C-9E5C-DD5B1A00182B}" srcOrd="10" destOrd="0" presId="urn:microsoft.com/office/officeart/2008/layout/VerticalCurvedList"/>
    <dgm:cxn modelId="{85C16577-E034-462E-A3A9-C53095BA2DFD}" type="presParOf" srcId="{1FBC8BAB-0B4C-461C-9E5C-DD5B1A00182B}" destId="{C831524B-9812-4A93-ABD9-73730C123FDD}" srcOrd="0" destOrd="0" presId="urn:microsoft.com/office/officeart/2008/layout/VerticalCurvedList"/>
    <dgm:cxn modelId="{3DB3DC0C-CF4C-4DC8-B3C2-B4A17DFD6921}" type="presParOf" srcId="{43AFC4E7-46DA-4B7B-B201-0A406A05CAD2}" destId="{DC22DB21-CA16-482C-9E91-63AF82A98035}" srcOrd="11" destOrd="0" presId="urn:microsoft.com/office/officeart/2008/layout/VerticalCurvedList"/>
    <dgm:cxn modelId="{98BEC0CA-BA53-4BE1-9CD1-462E32D8013C}" type="presParOf" srcId="{43AFC4E7-46DA-4B7B-B201-0A406A05CAD2}" destId="{748EA3FE-E0D2-4BB3-B2FA-699E3A857F07}" srcOrd="12" destOrd="0" presId="urn:microsoft.com/office/officeart/2008/layout/VerticalCurvedList"/>
    <dgm:cxn modelId="{F07F12F9-0A20-406C-8182-A4472F23A77B}" type="presParOf" srcId="{748EA3FE-E0D2-4BB3-B2FA-699E3A857F07}" destId="{988A8B49-38D0-4B1C-A5A9-0ECE9A1F67E3}" srcOrd="0" destOrd="0" presId="urn:microsoft.com/office/officeart/2008/layout/VerticalCurvedList"/>
    <dgm:cxn modelId="{DD1E9834-D8A3-4B2E-B9D0-338AE48D08BF}" type="presParOf" srcId="{43AFC4E7-46DA-4B7B-B201-0A406A05CAD2}" destId="{052E69EE-39FA-4239-BE1D-20B96DBE252A}" srcOrd="13" destOrd="0" presId="urn:microsoft.com/office/officeart/2008/layout/VerticalCurvedList"/>
    <dgm:cxn modelId="{0ED08FFB-871F-4C8B-AE71-E52803365746}" type="presParOf" srcId="{43AFC4E7-46DA-4B7B-B201-0A406A05CAD2}" destId="{CD06372B-DEAC-4D68-A392-9B2FC0120323}" srcOrd="14" destOrd="0" presId="urn:microsoft.com/office/officeart/2008/layout/VerticalCurvedList"/>
    <dgm:cxn modelId="{DC463133-B350-460A-85BE-F0C5DF8E971F}" type="presParOf" srcId="{CD06372B-DEAC-4D68-A392-9B2FC0120323}" destId="{3C4CE949-703D-44A1-B632-81B4622E495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B9A48CF8-D428-45D1-8969-FBBF15BE7DBA}">
      <dgm:prSet/>
      <dgm:spPr/>
      <dgm:t>
        <a:bodyPr/>
        <a:lstStyle/>
        <a:p>
          <a:r>
            <a:rPr lang="fr-FR" dirty="0"/>
            <a:t>Rapport financier de l’année 2017-2018</a:t>
          </a:r>
        </a:p>
      </dgm:t>
    </dgm:pt>
    <dgm:pt modelId="{A0CD69F9-CCD9-494F-8BAA-E371C16384F0}" type="parTrans" cxnId="{526ECF28-3CAD-4D93-A271-BA130FC38A40}">
      <dgm:prSet/>
      <dgm:spPr/>
      <dgm:t>
        <a:bodyPr/>
        <a:lstStyle/>
        <a:p>
          <a:endParaRPr lang="fr-FR"/>
        </a:p>
      </dgm:t>
    </dgm:pt>
    <dgm:pt modelId="{51D165D4-3F2F-4577-B999-E3D44DF8CE25}" type="sibTrans" cxnId="{526ECF28-3CAD-4D93-A271-BA130FC38A40}">
      <dgm:prSet/>
      <dgm:spPr/>
      <dgm:t>
        <a:bodyPr/>
        <a:lstStyle/>
        <a:p>
          <a:endParaRPr lang="fr-FR"/>
        </a:p>
      </dgm:t>
    </dgm:pt>
    <dgm:pt modelId="{2950704D-F612-46DF-93DB-38562274CE0A}">
      <dgm:prSet/>
      <dgm:spPr/>
      <dgm:t>
        <a:bodyPr/>
        <a:lstStyle/>
        <a:p>
          <a:r>
            <a:rPr lang="fr-FR" dirty="0"/>
            <a:t>Élections au Conseil d’Administration </a:t>
          </a:r>
        </a:p>
      </dgm:t>
    </dgm:pt>
    <dgm:pt modelId="{987F1677-1426-4E16-870E-56D0BC663F9B}" type="parTrans" cxnId="{75BC15D3-E58B-4B5A-AEB7-3CE02EFD8705}">
      <dgm:prSet/>
      <dgm:spPr/>
      <dgm:t>
        <a:bodyPr/>
        <a:lstStyle/>
        <a:p>
          <a:endParaRPr lang="fr-FR"/>
        </a:p>
      </dgm:t>
    </dgm:pt>
    <dgm:pt modelId="{83820126-CD9B-4B36-913F-47587C72FAFD}" type="sibTrans" cxnId="{75BC15D3-E58B-4B5A-AEB7-3CE02EFD8705}">
      <dgm:prSet/>
      <dgm:spPr/>
      <dgm:t>
        <a:bodyPr/>
        <a:lstStyle/>
        <a:p>
          <a:endParaRPr lang="fr-FR"/>
        </a:p>
      </dgm:t>
    </dgm:pt>
    <dgm:pt modelId="{445F633E-575C-4AF5-92DD-A71CC7C927A2}">
      <dgm:prSet/>
      <dgm:spPr/>
      <dgm:t>
        <a:bodyPr/>
        <a:lstStyle/>
        <a:p>
          <a:r>
            <a:rPr lang="fr-FR" dirty="0"/>
            <a:t>Budget de l’année 2018-2019</a:t>
          </a:r>
        </a:p>
      </dgm:t>
    </dgm:pt>
    <dgm:pt modelId="{78170A6E-C864-4525-99F0-764BDD069F7D}" type="parTrans" cxnId="{10C8B034-59B8-4A7B-BB37-6397972DA53F}">
      <dgm:prSet/>
      <dgm:spPr/>
      <dgm:t>
        <a:bodyPr/>
        <a:lstStyle/>
        <a:p>
          <a:endParaRPr lang="fr-FR"/>
        </a:p>
      </dgm:t>
    </dgm:pt>
    <dgm:pt modelId="{6DCA3502-1D36-4058-961B-A2DA94F7B6BD}" type="sibTrans" cxnId="{10C8B034-59B8-4A7B-BB37-6397972DA53F}">
      <dgm:prSet/>
      <dgm:spPr/>
      <dgm:t>
        <a:bodyPr/>
        <a:lstStyle/>
        <a:p>
          <a:endParaRPr lang="fr-FR"/>
        </a:p>
      </dgm:t>
    </dgm:pt>
    <dgm:pt modelId="{83D21C19-9BBA-47CD-A28C-78897E292876}">
      <dgm:prSet/>
      <dgm:spPr/>
      <dgm:t>
        <a:bodyPr/>
        <a:lstStyle/>
        <a:p>
          <a:r>
            <a:rPr lang="fr-FR" dirty="0"/>
            <a:t>Présentation du 1</a:t>
          </a:r>
          <a:r>
            <a:rPr lang="fr-FR" baseline="30000" dirty="0"/>
            <a:t>er</a:t>
          </a:r>
          <a:r>
            <a:rPr lang="fr-FR" dirty="0"/>
            <a:t> bilan du Partenariat avec « LA RESIDENCE »</a:t>
          </a:r>
        </a:p>
      </dgm:t>
    </dgm:pt>
    <dgm:pt modelId="{F9DB217B-EB6D-4135-A0AB-5FC58BB54940}" type="parTrans" cxnId="{A7094E9D-F5FE-495F-B0F2-32CEF9128CBD}">
      <dgm:prSet/>
      <dgm:spPr/>
      <dgm:t>
        <a:bodyPr/>
        <a:lstStyle/>
        <a:p>
          <a:endParaRPr lang="fr-FR"/>
        </a:p>
      </dgm:t>
    </dgm:pt>
    <dgm:pt modelId="{2147E029-686C-49DF-B4DE-CF8BF24A4A37}" type="sibTrans" cxnId="{A7094E9D-F5FE-495F-B0F2-32CEF9128CBD}">
      <dgm:prSet/>
      <dgm:spPr/>
      <dgm:t>
        <a:bodyPr/>
        <a:lstStyle/>
        <a:p>
          <a:endParaRPr lang="fr-FR"/>
        </a:p>
      </dgm:t>
    </dgm:pt>
    <dgm:pt modelId="{414797EB-74B4-4291-AF3E-06BCA64CF6B6}">
      <dgm:prSet/>
      <dgm:spPr/>
      <dgm:t>
        <a:bodyPr/>
        <a:lstStyle/>
        <a:p>
          <a:r>
            <a:rPr lang="fr-FR" dirty="0"/>
            <a:t>Intervention du Maire Adjoint  aux Sports et aux Bâtiments Municipaux</a:t>
          </a:r>
        </a:p>
      </dgm:t>
    </dgm:pt>
    <dgm:pt modelId="{D9EEC982-6F8E-415B-9E6B-101927331BD8}" type="parTrans" cxnId="{0281512C-E79C-4333-9D56-2A66E949228F}">
      <dgm:prSet/>
      <dgm:spPr/>
      <dgm:t>
        <a:bodyPr/>
        <a:lstStyle/>
        <a:p>
          <a:endParaRPr lang="fr-FR"/>
        </a:p>
      </dgm:t>
    </dgm:pt>
    <dgm:pt modelId="{3124CA87-5240-449D-93B8-646AA320F84C}" type="sibTrans" cxnId="{0281512C-E79C-4333-9D56-2A66E949228F}">
      <dgm:prSet/>
      <dgm:spPr/>
      <dgm:t>
        <a:bodyPr/>
        <a:lstStyle/>
        <a:p>
          <a:endParaRPr lang="fr-FR"/>
        </a:p>
      </dgm:t>
    </dgm:pt>
    <dgm:pt modelId="{5304307F-C466-4740-8475-DADC91075624}">
      <dgm:prSet/>
      <dgm:spPr/>
      <dgm:t>
        <a:bodyPr/>
        <a:lstStyle/>
        <a:p>
          <a:r>
            <a:rPr lang="fr-FR" dirty="0"/>
            <a:t>Les rendez-vous 2018-2019</a:t>
          </a:r>
        </a:p>
      </dgm:t>
    </dgm:pt>
    <dgm:pt modelId="{57F13D37-A893-4898-8E27-67A829686B6A}" type="parTrans" cxnId="{051A02E2-A13E-46A9-94BA-D97943568D2C}">
      <dgm:prSet/>
      <dgm:spPr/>
      <dgm:t>
        <a:bodyPr/>
        <a:lstStyle/>
        <a:p>
          <a:endParaRPr lang="fr-FR"/>
        </a:p>
      </dgm:t>
    </dgm:pt>
    <dgm:pt modelId="{2E2E54F7-C5CC-4881-AD5B-155C1DBB1F1E}" type="sibTrans" cxnId="{051A02E2-A13E-46A9-94BA-D97943568D2C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7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7"/>
      <dgm:spPr/>
    </dgm:pt>
    <dgm:pt modelId="{4485BF69-EF87-4AEE-AFDF-DE2F8D2ACCD9}" type="pres">
      <dgm:prSet presAssocID="{F010CF21-4A6D-44EF-A02C-3D5169816247}" presName="dstNode" presStyleLbl="node1" presStyleIdx="0" presStyleCnt="7"/>
      <dgm:spPr/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7"/>
      <dgm:spPr/>
    </dgm:pt>
    <dgm:pt modelId="{B33E6E9D-CEE0-4253-A8E7-0BD98EFB662C}" type="pres">
      <dgm:prSet presAssocID="{B9A48CF8-D428-45D1-8969-FBBF15BE7DBA}" presName="text_2" presStyleLbl="node1" presStyleIdx="1" presStyleCnt="7">
        <dgm:presLayoutVars>
          <dgm:bulletEnabled val="1"/>
        </dgm:presLayoutVars>
      </dgm:prSet>
      <dgm:spPr/>
    </dgm:pt>
    <dgm:pt modelId="{0C3100F7-B06F-4D61-8952-72DDA3F196CC}" type="pres">
      <dgm:prSet presAssocID="{B9A48CF8-D428-45D1-8969-FBBF15BE7DBA}" presName="accent_2" presStyleCnt="0"/>
      <dgm:spPr/>
    </dgm:pt>
    <dgm:pt modelId="{7A113706-4115-4E46-A0DB-BB2E4C947383}" type="pres">
      <dgm:prSet presAssocID="{B9A48CF8-D428-45D1-8969-FBBF15BE7DBA}" presName="accentRepeatNode" presStyleLbl="solidFgAcc1" presStyleIdx="1" presStyleCnt="7"/>
      <dgm:spPr/>
    </dgm:pt>
    <dgm:pt modelId="{CD0934E8-FFC7-4C4F-89BE-AC8E748C473B}" type="pres">
      <dgm:prSet presAssocID="{2950704D-F612-46DF-93DB-38562274CE0A}" presName="text_3" presStyleLbl="node1" presStyleIdx="2" presStyleCnt="7">
        <dgm:presLayoutVars>
          <dgm:bulletEnabled val="1"/>
        </dgm:presLayoutVars>
      </dgm:prSet>
      <dgm:spPr/>
    </dgm:pt>
    <dgm:pt modelId="{E9561BC4-D00A-48CE-8C8A-EEF31BA7E3DC}" type="pres">
      <dgm:prSet presAssocID="{2950704D-F612-46DF-93DB-38562274CE0A}" presName="accent_3" presStyleCnt="0"/>
      <dgm:spPr/>
    </dgm:pt>
    <dgm:pt modelId="{0692BF8D-B063-4580-8A2D-225A14481CCD}" type="pres">
      <dgm:prSet presAssocID="{2950704D-F612-46DF-93DB-38562274CE0A}" presName="accentRepeatNode" presStyleLbl="solidFgAcc1" presStyleIdx="2" presStyleCnt="7"/>
      <dgm:spPr/>
    </dgm:pt>
    <dgm:pt modelId="{A130CA03-71CB-414D-840B-5B6A74283EA0}" type="pres">
      <dgm:prSet presAssocID="{5304307F-C466-4740-8475-DADC91075624}" presName="text_4" presStyleLbl="node1" presStyleIdx="3" presStyleCnt="7">
        <dgm:presLayoutVars>
          <dgm:bulletEnabled val="1"/>
        </dgm:presLayoutVars>
      </dgm:prSet>
      <dgm:spPr/>
    </dgm:pt>
    <dgm:pt modelId="{D937CBB2-ED3F-4237-9CE7-8530AF6E9C0D}" type="pres">
      <dgm:prSet presAssocID="{5304307F-C466-4740-8475-DADC91075624}" presName="accent_4" presStyleCnt="0"/>
      <dgm:spPr/>
    </dgm:pt>
    <dgm:pt modelId="{D60F798E-526C-4126-9782-B35CCE9CE8B1}" type="pres">
      <dgm:prSet presAssocID="{5304307F-C466-4740-8475-DADC91075624}" presName="accentRepeatNode" presStyleLbl="solidFgAcc1" presStyleIdx="3" presStyleCnt="7"/>
      <dgm:spPr/>
    </dgm:pt>
    <dgm:pt modelId="{21DC1980-00DC-4CF7-95B2-732EEE3E3F6A}" type="pres">
      <dgm:prSet presAssocID="{445F633E-575C-4AF5-92DD-A71CC7C927A2}" presName="text_5" presStyleLbl="node1" presStyleIdx="4" presStyleCnt="7">
        <dgm:presLayoutVars>
          <dgm:bulletEnabled val="1"/>
        </dgm:presLayoutVars>
      </dgm:prSet>
      <dgm:spPr/>
    </dgm:pt>
    <dgm:pt modelId="{52DDB14D-B001-4BDB-B2BD-E4F4785CF4F4}" type="pres">
      <dgm:prSet presAssocID="{445F633E-575C-4AF5-92DD-A71CC7C927A2}" presName="accent_5" presStyleCnt="0"/>
      <dgm:spPr/>
    </dgm:pt>
    <dgm:pt modelId="{1CAC461D-769E-43F1-85D8-A86E37EE9368}" type="pres">
      <dgm:prSet presAssocID="{445F633E-575C-4AF5-92DD-A71CC7C927A2}" presName="accentRepeatNode" presStyleLbl="solidFgAcc1" presStyleIdx="4" presStyleCnt="7"/>
      <dgm:spPr/>
    </dgm:pt>
    <dgm:pt modelId="{90DEF82D-19AE-4AD6-85C9-882AA6979A47}" type="pres">
      <dgm:prSet presAssocID="{83D21C19-9BBA-47CD-A28C-78897E292876}" presName="text_6" presStyleLbl="node1" presStyleIdx="5" presStyleCnt="7">
        <dgm:presLayoutVars>
          <dgm:bulletEnabled val="1"/>
        </dgm:presLayoutVars>
      </dgm:prSet>
      <dgm:spPr/>
    </dgm:pt>
    <dgm:pt modelId="{24443A18-902C-46C8-9159-72852470E469}" type="pres">
      <dgm:prSet presAssocID="{83D21C19-9BBA-47CD-A28C-78897E292876}" presName="accent_6" presStyleCnt="0"/>
      <dgm:spPr/>
    </dgm:pt>
    <dgm:pt modelId="{5B1F49EF-F46F-4EB0-87B2-B210B7586130}" type="pres">
      <dgm:prSet presAssocID="{83D21C19-9BBA-47CD-A28C-78897E292876}" presName="accentRepeatNode" presStyleLbl="solidFgAcc1" presStyleIdx="5" presStyleCnt="7"/>
      <dgm:spPr/>
    </dgm:pt>
    <dgm:pt modelId="{BF5F14BC-780E-439D-8CCE-B939CA6246CF}" type="pres">
      <dgm:prSet presAssocID="{414797EB-74B4-4291-AF3E-06BCA64CF6B6}" presName="text_7" presStyleLbl="node1" presStyleIdx="6" presStyleCnt="7">
        <dgm:presLayoutVars>
          <dgm:bulletEnabled val="1"/>
        </dgm:presLayoutVars>
      </dgm:prSet>
      <dgm:spPr/>
    </dgm:pt>
    <dgm:pt modelId="{9C39E1B9-7EF7-4037-AC94-A53D7AE2CF83}" type="pres">
      <dgm:prSet presAssocID="{414797EB-74B4-4291-AF3E-06BCA64CF6B6}" presName="accent_7" presStyleCnt="0"/>
      <dgm:spPr/>
    </dgm:pt>
    <dgm:pt modelId="{5AF5E7EE-A04D-40FC-8300-CF20EEE80831}" type="pres">
      <dgm:prSet presAssocID="{414797EB-74B4-4291-AF3E-06BCA64CF6B6}" presName="accentRepeatNode" presStyleLbl="solidFgAcc1" presStyleIdx="6" presStyleCnt="7"/>
      <dgm:spPr/>
    </dgm:pt>
  </dgm:ptLst>
  <dgm:cxnLst>
    <dgm:cxn modelId="{EEC29124-EB80-4F12-8AFF-AC8B595E0192}" type="presOf" srcId="{2950704D-F612-46DF-93DB-38562274CE0A}" destId="{CD0934E8-FFC7-4C4F-89BE-AC8E748C473B}" srcOrd="0" destOrd="0" presId="urn:microsoft.com/office/officeart/2008/layout/VerticalCurvedList"/>
    <dgm:cxn modelId="{526ECF28-3CAD-4D93-A271-BA130FC38A40}" srcId="{F010CF21-4A6D-44EF-A02C-3D5169816247}" destId="{B9A48CF8-D428-45D1-8969-FBBF15BE7DBA}" srcOrd="1" destOrd="0" parTransId="{A0CD69F9-CCD9-494F-8BAA-E371C16384F0}" sibTransId="{51D165D4-3F2F-4577-B999-E3D44DF8CE25}"/>
    <dgm:cxn modelId="{CA3C202C-03DC-414C-96AB-801EDBB35DBC}" type="presOf" srcId="{5304307F-C466-4740-8475-DADC91075624}" destId="{A130CA03-71CB-414D-840B-5B6A74283EA0}" srcOrd="0" destOrd="0" presId="urn:microsoft.com/office/officeart/2008/layout/VerticalCurvedList"/>
    <dgm:cxn modelId="{0281512C-E79C-4333-9D56-2A66E949228F}" srcId="{F010CF21-4A6D-44EF-A02C-3D5169816247}" destId="{414797EB-74B4-4291-AF3E-06BCA64CF6B6}" srcOrd="6" destOrd="0" parTransId="{D9EEC982-6F8E-415B-9E6B-101927331BD8}" sibTransId="{3124CA87-5240-449D-93B8-646AA320F84C}"/>
    <dgm:cxn modelId="{10C8B034-59B8-4A7B-BB37-6397972DA53F}" srcId="{F010CF21-4A6D-44EF-A02C-3D5169816247}" destId="{445F633E-575C-4AF5-92DD-A71CC7C927A2}" srcOrd="4" destOrd="0" parTransId="{78170A6E-C864-4525-99F0-764BDD069F7D}" sibTransId="{6DCA3502-1D36-4058-961B-A2DA94F7B6BD}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CFED395B-78F0-446A-ACC6-972111EC5033}" type="presOf" srcId="{B9A48CF8-D428-45D1-8969-FBBF15BE7DBA}" destId="{B33E6E9D-CEE0-4253-A8E7-0BD98EFB662C}" srcOrd="0" destOrd="0" presId="urn:microsoft.com/office/officeart/2008/layout/VerticalCurvedList"/>
    <dgm:cxn modelId="{D46D2F98-581C-453E-92B6-BB4DC1420FB2}" type="presOf" srcId="{414797EB-74B4-4291-AF3E-06BCA64CF6B6}" destId="{BF5F14BC-780E-439D-8CCE-B939CA6246CF}" srcOrd="0" destOrd="0" presId="urn:microsoft.com/office/officeart/2008/layout/VerticalCurvedList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A7094E9D-F5FE-495F-B0F2-32CEF9128CBD}" srcId="{F010CF21-4A6D-44EF-A02C-3D5169816247}" destId="{83D21C19-9BBA-47CD-A28C-78897E292876}" srcOrd="5" destOrd="0" parTransId="{F9DB217B-EB6D-4135-A0AB-5FC58BB54940}" sibTransId="{2147E029-686C-49DF-B4DE-CF8BF24A4A37}"/>
    <dgm:cxn modelId="{3278C1AA-E75C-4A24-8172-198DFA59787F}" type="presOf" srcId="{83D21C19-9BBA-47CD-A28C-78897E292876}" destId="{90DEF82D-19AE-4AD6-85C9-882AA6979A47}" srcOrd="0" destOrd="0" presId="urn:microsoft.com/office/officeart/2008/layout/VerticalCurvedList"/>
    <dgm:cxn modelId="{951EF2D1-FE58-4F1C-B2B8-BB0DE52CDA46}" type="presOf" srcId="{445F633E-575C-4AF5-92DD-A71CC7C927A2}" destId="{21DC1980-00DC-4CF7-95B2-732EEE3E3F6A}" srcOrd="0" destOrd="0" presId="urn:microsoft.com/office/officeart/2008/layout/VerticalCurvedList"/>
    <dgm:cxn modelId="{75BC15D3-E58B-4B5A-AEB7-3CE02EFD8705}" srcId="{F010CF21-4A6D-44EF-A02C-3D5169816247}" destId="{2950704D-F612-46DF-93DB-38562274CE0A}" srcOrd="2" destOrd="0" parTransId="{987F1677-1426-4E16-870E-56D0BC663F9B}" sibTransId="{83820126-CD9B-4B36-913F-47587C72FAFD}"/>
    <dgm:cxn modelId="{051A02E2-A13E-46A9-94BA-D97943568D2C}" srcId="{F010CF21-4A6D-44EF-A02C-3D5169816247}" destId="{5304307F-C466-4740-8475-DADC91075624}" srcOrd="3" destOrd="0" parTransId="{57F13D37-A893-4898-8E27-67A829686B6A}" sibTransId="{2E2E54F7-C5CC-4881-AD5B-155C1DBB1F1E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80C35DAC-CBFB-4E5C-9F8F-ED6B6AC1A088}" type="presParOf" srcId="{43AFC4E7-46DA-4B7B-B201-0A406A05CAD2}" destId="{B33E6E9D-CEE0-4253-A8E7-0BD98EFB662C}" srcOrd="3" destOrd="0" presId="urn:microsoft.com/office/officeart/2008/layout/VerticalCurvedList"/>
    <dgm:cxn modelId="{BC7448D4-5FAE-4FE9-A263-DFE11F461FA0}" type="presParOf" srcId="{43AFC4E7-46DA-4B7B-B201-0A406A05CAD2}" destId="{0C3100F7-B06F-4D61-8952-72DDA3F196CC}" srcOrd="4" destOrd="0" presId="urn:microsoft.com/office/officeart/2008/layout/VerticalCurvedList"/>
    <dgm:cxn modelId="{69E5BCA8-649E-45D6-B7EE-52A904BB1E9A}" type="presParOf" srcId="{0C3100F7-B06F-4D61-8952-72DDA3F196CC}" destId="{7A113706-4115-4E46-A0DB-BB2E4C947383}" srcOrd="0" destOrd="0" presId="urn:microsoft.com/office/officeart/2008/layout/VerticalCurvedList"/>
    <dgm:cxn modelId="{94030337-B533-4D55-93FB-0638FF634A8E}" type="presParOf" srcId="{43AFC4E7-46DA-4B7B-B201-0A406A05CAD2}" destId="{CD0934E8-FFC7-4C4F-89BE-AC8E748C473B}" srcOrd="5" destOrd="0" presId="urn:microsoft.com/office/officeart/2008/layout/VerticalCurvedList"/>
    <dgm:cxn modelId="{3068500E-4AE6-4012-B329-3CEDB4986D2B}" type="presParOf" srcId="{43AFC4E7-46DA-4B7B-B201-0A406A05CAD2}" destId="{E9561BC4-D00A-48CE-8C8A-EEF31BA7E3DC}" srcOrd="6" destOrd="0" presId="urn:microsoft.com/office/officeart/2008/layout/VerticalCurvedList"/>
    <dgm:cxn modelId="{3EBB3BD1-9955-4678-9878-D7F0379BB321}" type="presParOf" srcId="{E9561BC4-D00A-48CE-8C8A-EEF31BA7E3DC}" destId="{0692BF8D-B063-4580-8A2D-225A14481CCD}" srcOrd="0" destOrd="0" presId="urn:microsoft.com/office/officeart/2008/layout/VerticalCurvedList"/>
    <dgm:cxn modelId="{20BAB0F8-3D1C-4E16-9625-D13E48746E83}" type="presParOf" srcId="{43AFC4E7-46DA-4B7B-B201-0A406A05CAD2}" destId="{A130CA03-71CB-414D-840B-5B6A74283EA0}" srcOrd="7" destOrd="0" presId="urn:microsoft.com/office/officeart/2008/layout/VerticalCurvedList"/>
    <dgm:cxn modelId="{67262A83-8B8E-4A4B-8C6C-9C292F5A8586}" type="presParOf" srcId="{43AFC4E7-46DA-4B7B-B201-0A406A05CAD2}" destId="{D937CBB2-ED3F-4237-9CE7-8530AF6E9C0D}" srcOrd="8" destOrd="0" presId="urn:microsoft.com/office/officeart/2008/layout/VerticalCurvedList"/>
    <dgm:cxn modelId="{7751C83B-3E5D-4AEA-99DD-865FE86EDBD2}" type="presParOf" srcId="{D937CBB2-ED3F-4237-9CE7-8530AF6E9C0D}" destId="{D60F798E-526C-4126-9782-B35CCE9CE8B1}" srcOrd="0" destOrd="0" presId="urn:microsoft.com/office/officeart/2008/layout/VerticalCurvedList"/>
    <dgm:cxn modelId="{7A19E96A-DDDD-46B7-AE78-C549CCB96C8B}" type="presParOf" srcId="{43AFC4E7-46DA-4B7B-B201-0A406A05CAD2}" destId="{21DC1980-00DC-4CF7-95B2-732EEE3E3F6A}" srcOrd="9" destOrd="0" presId="urn:microsoft.com/office/officeart/2008/layout/VerticalCurvedList"/>
    <dgm:cxn modelId="{80666BF2-C987-4064-AB37-458FBB483E70}" type="presParOf" srcId="{43AFC4E7-46DA-4B7B-B201-0A406A05CAD2}" destId="{52DDB14D-B001-4BDB-B2BD-E4F4785CF4F4}" srcOrd="10" destOrd="0" presId="urn:microsoft.com/office/officeart/2008/layout/VerticalCurvedList"/>
    <dgm:cxn modelId="{047EC53C-7792-4180-A36A-C3661F9B0960}" type="presParOf" srcId="{52DDB14D-B001-4BDB-B2BD-E4F4785CF4F4}" destId="{1CAC461D-769E-43F1-85D8-A86E37EE9368}" srcOrd="0" destOrd="0" presId="urn:microsoft.com/office/officeart/2008/layout/VerticalCurvedList"/>
    <dgm:cxn modelId="{E598B355-FD78-4B67-84AF-34E2549F0F90}" type="presParOf" srcId="{43AFC4E7-46DA-4B7B-B201-0A406A05CAD2}" destId="{90DEF82D-19AE-4AD6-85C9-882AA6979A47}" srcOrd="11" destOrd="0" presId="urn:microsoft.com/office/officeart/2008/layout/VerticalCurvedList"/>
    <dgm:cxn modelId="{A17A9F6F-7E84-44B9-9A05-8DBCECD9FE29}" type="presParOf" srcId="{43AFC4E7-46DA-4B7B-B201-0A406A05CAD2}" destId="{24443A18-902C-46C8-9159-72852470E469}" srcOrd="12" destOrd="0" presId="urn:microsoft.com/office/officeart/2008/layout/VerticalCurvedList"/>
    <dgm:cxn modelId="{C822F455-EA14-4FAE-A2C7-F5DAAA85D446}" type="presParOf" srcId="{24443A18-902C-46C8-9159-72852470E469}" destId="{5B1F49EF-F46F-4EB0-87B2-B210B7586130}" srcOrd="0" destOrd="0" presId="urn:microsoft.com/office/officeart/2008/layout/VerticalCurvedList"/>
    <dgm:cxn modelId="{30E9383D-E660-4608-B5C8-B38ED582D871}" type="presParOf" srcId="{43AFC4E7-46DA-4B7B-B201-0A406A05CAD2}" destId="{BF5F14BC-780E-439D-8CCE-B939CA6246CF}" srcOrd="13" destOrd="0" presId="urn:microsoft.com/office/officeart/2008/layout/VerticalCurvedList"/>
    <dgm:cxn modelId="{02A1D0AD-9DA6-475D-BE49-DF117390C6D5}" type="presParOf" srcId="{43AFC4E7-46DA-4B7B-B201-0A406A05CAD2}" destId="{9C39E1B9-7EF7-4037-AC94-A53D7AE2CF83}" srcOrd="14" destOrd="0" presId="urn:microsoft.com/office/officeart/2008/layout/VerticalCurvedList"/>
    <dgm:cxn modelId="{529AF4A4-F919-4FEF-B667-F97B8078BA59}" type="presParOf" srcId="{9C39E1B9-7EF7-4037-AC94-A53D7AE2CF83}" destId="{5AF5E7EE-A04D-40FC-8300-CF20EEE80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412A490A-E867-48DF-A233-4516379317CC}">
      <dgm:prSet/>
      <dgm:spPr/>
      <dgm:t>
        <a:bodyPr/>
        <a:lstStyle/>
        <a:p>
          <a:r>
            <a:rPr lang="fr-FR" dirty="0"/>
            <a:t>Rapport financier de l’année 2018-2019</a:t>
          </a:r>
        </a:p>
      </dgm:t>
    </dgm:pt>
    <dgm:pt modelId="{216EC4D2-B974-40DE-B471-398E2FC0146F}" type="parTrans" cxnId="{BF5A2D03-881E-4934-8CFC-58A322B454DF}">
      <dgm:prSet/>
      <dgm:spPr/>
      <dgm:t>
        <a:bodyPr/>
        <a:lstStyle/>
        <a:p>
          <a:endParaRPr lang="fr-FR"/>
        </a:p>
      </dgm:t>
    </dgm:pt>
    <dgm:pt modelId="{48511D93-0E1F-4D25-8079-2B20F0A0F6E6}" type="sibTrans" cxnId="{BF5A2D03-881E-4934-8CFC-58A322B454DF}">
      <dgm:prSet/>
      <dgm:spPr/>
      <dgm:t>
        <a:bodyPr/>
        <a:lstStyle/>
        <a:p>
          <a:endParaRPr lang="fr-FR"/>
        </a:p>
      </dgm:t>
    </dgm:pt>
    <dgm:pt modelId="{582BEB5B-16C0-4E34-A2A7-BF08763F5506}">
      <dgm:prSet/>
      <dgm:spPr/>
      <dgm:t>
        <a:bodyPr/>
        <a:lstStyle/>
        <a:p>
          <a:r>
            <a:rPr lang="fr-FR" dirty="0"/>
            <a:t>Élections au Conseil d’Administration </a:t>
          </a:r>
        </a:p>
      </dgm:t>
    </dgm:pt>
    <dgm:pt modelId="{CE9B8CA3-8339-4546-AB97-49D2FD27FF51}" type="parTrans" cxnId="{504E7D96-3FEE-44A7-B863-E9C6D9D3BE47}">
      <dgm:prSet/>
      <dgm:spPr/>
      <dgm:t>
        <a:bodyPr/>
        <a:lstStyle/>
        <a:p>
          <a:endParaRPr lang="fr-FR"/>
        </a:p>
      </dgm:t>
    </dgm:pt>
    <dgm:pt modelId="{3D92AD6F-1F61-410F-8EB2-D71374881682}" type="sibTrans" cxnId="{504E7D96-3FEE-44A7-B863-E9C6D9D3BE47}">
      <dgm:prSet/>
      <dgm:spPr/>
      <dgm:t>
        <a:bodyPr/>
        <a:lstStyle/>
        <a:p>
          <a:endParaRPr lang="fr-FR"/>
        </a:p>
      </dgm:t>
    </dgm:pt>
    <dgm:pt modelId="{EA170BE0-6BAA-4419-B7B8-D3B43A25168B}">
      <dgm:prSet/>
      <dgm:spPr/>
      <dgm:t>
        <a:bodyPr/>
        <a:lstStyle/>
        <a:p>
          <a:r>
            <a:rPr lang="fr-FR" dirty="0"/>
            <a:t>Les rendez-vous 2019-2020</a:t>
          </a:r>
        </a:p>
      </dgm:t>
    </dgm:pt>
    <dgm:pt modelId="{DC4CF154-B710-49BB-AD1D-99D5F7AB0E46}" type="parTrans" cxnId="{FDF4D62A-A3B7-4D9D-88F4-834C5078AD21}">
      <dgm:prSet/>
      <dgm:spPr/>
      <dgm:t>
        <a:bodyPr/>
        <a:lstStyle/>
        <a:p>
          <a:endParaRPr lang="fr-FR"/>
        </a:p>
      </dgm:t>
    </dgm:pt>
    <dgm:pt modelId="{509FBA86-E539-4F37-A55D-C24E16D27ACB}" type="sibTrans" cxnId="{FDF4D62A-A3B7-4D9D-88F4-834C5078AD21}">
      <dgm:prSet/>
      <dgm:spPr/>
      <dgm:t>
        <a:bodyPr/>
        <a:lstStyle/>
        <a:p>
          <a:endParaRPr lang="fr-FR"/>
        </a:p>
      </dgm:t>
    </dgm:pt>
    <dgm:pt modelId="{A81200C5-638E-4D2D-A438-A8DC331E43A6}">
      <dgm:prSet/>
      <dgm:spPr/>
      <dgm:t>
        <a:bodyPr/>
        <a:lstStyle/>
        <a:p>
          <a:r>
            <a:rPr lang="fr-FR" dirty="0"/>
            <a:t>Budget de l’année 2019-2020</a:t>
          </a:r>
        </a:p>
      </dgm:t>
    </dgm:pt>
    <dgm:pt modelId="{D6857FED-5D52-4D93-A5E9-CDA2868C24F2}" type="parTrans" cxnId="{5576C96F-973C-4617-99FF-A2CF5BC19592}">
      <dgm:prSet/>
      <dgm:spPr/>
      <dgm:t>
        <a:bodyPr/>
        <a:lstStyle/>
        <a:p>
          <a:endParaRPr lang="fr-FR"/>
        </a:p>
      </dgm:t>
    </dgm:pt>
    <dgm:pt modelId="{F2E58C23-C2D1-48D8-8837-0243694B2BC0}" type="sibTrans" cxnId="{5576C96F-973C-4617-99FF-A2CF5BC19592}">
      <dgm:prSet/>
      <dgm:spPr/>
      <dgm:t>
        <a:bodyPr/>
        <a:lstStyle/>
        <a:p>
          <a:endParaRPr lang="fr-FR"/>
        </a:p>
      </dgm:t>
    </dgm:pt>
    <dgm:pt modelId="{9808EA6F-94E3-4700-8797-B3AB155FF290}">
      <dgm:prSet/>
      <dgm:spPr/>
      <dgm:t>
        <a:bodyPr/>
        <a:lstStyle/>
        <a:p>
          <a:r>
            <a:rPr lang="fr-FR" dirty="0"/>
            <a:t>Questions diverses</a:t>
          </a:r>
        </a:p>
      </dgm:t>
    </dgm:pt>
    <dgm:pt modelId="{0EB1616F-D88A-4787-9C97-07AE93F6C8F6}" type="parTrans" cxnId="{C19280C7-BF65-4FA6-B5F7-162F3CBC5034}">
      <dgm:prSet/>
      <dgm:spPr/>
      <dgm:t>
        <a:bodyPr/>
        <a:lstStyle/>
        <a:p>
          <a:endParaRPr lang="fr-FR"/>
        </a:p>
      </dgm:t>
    </dgm:pt>
    <dgm:pt modelId="{59ACC829-B681-4FCD-B303-85D88C26405D}" type="sibTrans" cxnId="{C19280C7-BF65-4FA6-B5F7-162F3CBC5034}">
      <dgm:prSet/>
      <dgm:spPr/>
      <dgm:t>
        <a:bodyPr/>
        <a:lstStyle/>
        <a:p>
          <a:endParaRPr lang="fr-FR"/>
        </a:p>
      </dgm:t>
    </dgm:pt>
    <dgm:pt modelId="{2B39F1B1-1600-498D-AC41-2BEA81C66B33}">
      <dgm:prSet phldrT="[Texte]"/>
      <dgm:spPr/>
      <dgm:t>
        <a:bodyPr/>
        <a:lstStyle/>
        <a:p>
          <a:r>
            <a:rPr lang="fr-FR" dirty="0"/>
            <a:t>Pot de l’amitié</a:t>
          </a:r>
        </a:p>
      </dgm:t>
    </dgm:pt>
    <dgm:pt modelId="{B2C781C4-B752-4707-A7D1-EF897E83B376}" type="parTrans" cxnId="{19ADF6E0-99FE-4112-AB41-C70F31EA2271}">
      <dgm:prSet/>
      <dgm:spPr/>
      <dgm:t>
        <a:bodyPr/>
        <a:lstStyle/>
        <a:p>
          <a:endParaRPr lang="fr-FR"/>
        </a:p>
      </dgm:t>
    </dgm:pt>
    <dgm:pt modelId="{0024BA8F-4365-4173-B63D-CE5F1B6B737E}" type="sibTrans" cxnId="{19ADF6E0-99FE-4112-AB41-C70F31EA2271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7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7"/>
      <dgm:spPr/>
    </dgm:pt>
    <dgm:pt modelId="{4485BF69-EF87-4AEE-AFDF-DE2F8D2ACCD9}" type="pres">
      <dgm:prSet presAssocID="{F010CF21-4A6D-44EF-A02C-3D5169816247}" presName="dstNode" presStyleLbl="node1" presStyleIdx="0" presStyleCnt="7"/>
      <dgm:spPr/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7"/>
      <dgm:spPr/>
    </dgm:pt>
    <dgm:pt modelId="{D514D2C7-336E-4299-AE25-25164E82EE2D}" type="pres">
      <dgm:prSet presAssocID="{412A490A-E867-48DF-A233-4516379317CC}" presName="text_2" presStyleLbl="node1" presStyleIdx="1" presStyleCnt="7">
        <dgm:presLayoutVars>
          <dgm:bulletEnabled val="1"/>
        </dgm:presLayoutVars>
      </dgm:prSet>
      <dgm:spPr/>
    </dgm:pt>
    <dgm:pt modelId="{EFD23457-EDFF-4814-8B3C-CD60078A7D9E}" type="pres">
      <dgm:prSet presAssocID="{412A490A-E867-48DF-A233-4516379317CC}" presName="accent_2" presStyleCnt="0"/>
      <dgm:spPr/>
    </dgm:pt>
    <dgm:pt modelId="{838C1B33-DD0E-4CBE-947F-342F06D30CE5}" type="pres">
      <dgm:prSet presAssocID="{412A490A-E867-48DF-A233-4516379317CC}" presName="accentRepeatNode" presStyleLbl="solidFgAcc1" presStyleIdx="1" presStyleCnt="7"/>
      <dgm:spPr/>
    </dgm:pt>
    <dgm:pt modelId="{AA0F0E10-5726-4767-844F-C84D447FA39C}" type="pres">
      <dgm:prSet presAssocID="{582BEB5B-16C0-4E34-A2A7-BF08763F5506}" presName="text_3" presStyleLbl="node1" presStyleIdx="2" presStyleCnt="7">
        <dgm:presLayoutVars>
          <dgm:bulletEnabled val="1"/>
        </dgm:presLayoutVars>
      </dgm:prSet>
      <dgm:spPr/>
    </dgm:pt>
    <dgm:pt modelId="{7C2D4D0E-D052-4D06-A4AD-0DFA5D096E10}" type="pres">
      <dgm:prSet presAssocID="{582BEB5B-16C0-4E34-A2A7-BF08763F5506}" presName="accent_3" presStyleCnt="0"/>
      <dgm:spPr/>
    </dgm:pt>
    <dgm:pt modelId="{B3ADA0D2-BF2C-4B7F-BD8A-C09A230B5170}" type="pres">
      <dgm:prSet presAssocID="{582BEB5B-16C0-4E34-A2A7-BF08763F5506}" presName="accentRepeatNode" presStyleLbl="solidFgAcc1" presStyleIdx="2" presStyleCnt="7"/>
      <dgm:spPr/>
    </dgm:pt>
    <dgm:pt modelId="{533E4732-3C45-4B06-B3ED-5B68324267BF}" type="pres">
      <dgm:prSet presAssocID="{EA170BE0-6BAA-4419-B7B8-D3B43A25168B}" presName="text_4" presStyleLbl="node1" presStyleIdx="3" presStyleCnt="7">
        <dgm:presLayoutVars>
          <dgm:bulletEnabled val="1"/>
        </dgm:presLayoutVars>
      </dgm:prSet>
      <dgm:spPr/>
    </dgm:pt>
    <dgm:pt modelId="{ACDF5E31-6B40-47B1-989B-99C691B33FD1}" type="pres">
      <dgm:prSet presAssocID="{EA170BE0-6BAA-4419-B7B8-D3B43A25168B}" presName="accent_4" presStyleCnt="0"/>
      <dgm:spPr/>
    </dgm:pt>
    <dgm:pt modelId="{15F431B3-2E60-44A3-8D27-949571BAC0F8}" type="pres">
      <dgm:prSet presAssocID="{EA170BE0-6BAA-4419-B7B8-D3B43A25168B}" presName="accentRepeatNode" presStyleLbl="solidFgAcc1" presStyleIdx="3" presStyleCnt="7"/>
      <dgm:spPr/>
    </dgm:pt>
    <dgm:pt modelId="{124D3E7C-92E9-490C-B577-92A73403BF31}" type="pres">
      <dgm:prSet presAssocID="{A81200C5-638E-4D2D-A438-A8DC331E43A6}" presName="text_5" presStyleLbl="node1" presStyleIdx="4" presStyleCnt="7">
        <dgm:presLayoutVars>
          <dgm:bulletEnabled val="1"/>
        </dgm:presLayoutVars>
      </dgm:prSet>
      <dgm:spPr/>
    </dgm:pt>
    <dgm:pt modelId="{6E00E2A0-019F-48EC-B0ED-2CFE6C6BF08C}" type="pres">
      <dgm:prSet presAssocID="{A81200C5-638E-4D2D-A438-A8DC331E43A6}" presName="accent_5" presStyleCnt="0"/>
      <dgm:spPr/>
    </dgm:pt>
    <dgm:pt modelId="{73790646-36F1-4832-8BF2-6BF111A6C861}" type="pres">
      <dgm:prSet presAssocID="{A81200C5-638E-4D2D-A438-A8DC331E43A6}" presName="accentRepeatNode" presStyleLbl="solidFgAcc1" presStyleIdx="4" presStyleCnt="7"/>
      <dgm:spPr/>
    </dgm:pt>
    <dgm:pt modelId="{D6E0D405-80B5-41C9-BA40-241ED6F7BEF7}" type="pres">
      <dgm:prSet presAssocID="{9808EA6F-94E3-4700-8797-B3AB155FF290}" presName="text_6" presStyleLbl="node1" presStyleIdx="5" presStyleCnt="7">
        <dgm:presLayoutVars>
          <dgm:bulletEnabled val="1"/>
        </dgm:presLayoutVars>
      </dgm:prSet>
      <dgm:spPr/>
    </dgm:pt>
    <dgm:pt modelId="{A3F4F0E2-3D0E-439C-91A6-898C80A6C31C}" type="pres">
      <dgm:prSet presAssocID="{9808EA6F-94E3-4700-8797-B3AB155FF290}" presName="accent_6" presStyleCnt="0"/>
      <dgm:spPr/>
    </dgm:pt>
    <dgm:pt modelId="{DC7255E1-6218-429A-B98F-94BCAC7D47CB}" type="pres">
      <dgm:prSet presAssocID="{9808EA6F-94E3-4700-8797-B3AB155FF290}" presName="accentRepeatNode" presStyleLbl="solidFgAcc1" presStyleIdx="5" presStyleCnt="7"/>
      <dgm:spPr/>
    </dgm:pt>
    <dgm:pt modelId="{3B1484DA-F60D-465E-876E-DBD58AE21DB5}" type="pres">
      <dgm:prSet presAssocID="{2B39F1B1-1600-498D-AC41-2BEA81C66B33}" presName="text_7" presStyleLbl="node1" presStyleIdx="6" presStyleCnt="7">
        <dgm:presLayoutVars>
          <dgm:bulletEnabled val="1"/>
        </dgm:presLayoutVars>
      </dgm:prSet>
      <dgm:spPr/>
    </dgm:pt>
    <dgm:pt modelId="{D2E4D9C7-068A-4F5E-8737-1AAE1D468584}" type="pres">
      <dgm:prSet presAssocID="{2B39F1B1-1600-498D-AC41-2BEA81C66B33}" presName="accent_7" presStyleCnt="0"/>
      <dgm:spPr/>
    </dgm:pt>
    <dgm:pt modelId="{91950BAA-3AA9-4C1C-9CD3-873C2CBA66D7}" type="pres">
      <dgm:prSet presAssocID="{2B39F1B1-1600-498D-AC41-2BEA81C66B33}" presName="accentRepeatNode" presStyleLbl="solidFgAcc1" presStyleIdx="6" presStyleCnt="7"/>
      <dgm:spPr/>
    </dgm:pt>
  </dgm:ptLst>
  <dgm:cxnLst>
    <dgm:cxn modelId="{BF5A2D03-881E-4934-8CFC-58A322B454DF}" srcId="{F010CF21-4A6D-44EF-A02C-3D5169816247}" destId="{412A490A-E867-48DF-A233-4516379317CC}" srcOrd="1" destOrd="0" parTransId="{216EC4D2-B974-40DE-B471-398E2FC0146F}" sibTransId="{48511D93-0E1F-4D25-8079-2B20F0A0F6E6}"/>
    <dgm:cxn modelId="{452D8818-3DE8-40CD-886F-240FD3EE4F59}" type="presOf" srcId="{A81200C5-638E-4D2D-A438-A8DC331E43A6}" destId="{124D3E7C-92E9-490C-B577-92A73403BF31}" srcOrd="0" destOrd="0" presId="urn:microsoft.com/office/officeart/2008/layout/VerticalCurvedList"/>
    <dgm:cxn modelId="{FDF4D62A-A3B7-4D9D-88F4-834C5078AD21}" srcId="{F010CF21-4A6D-44EF-A02C-3D5169816247}" destId="{EA170BE0-6BAA-4419-B7B8-D3B43A25168B}" srcOrd="3" destOrd="0" parTransId="{DC4CF154-B710-49BB-AD1D-99D5F7AB0E46}" sibTransId="{509FBA86-E539-4F37-A55D-C24E16D27ACB}"/>
    <dgm:cxn modelId="{A6C63432-2C8D-4CA9-B1EC-37A8A5DA6813}" type="presOf" srcId="{9808EA6F-94E3-4700-8797-B3AB155FF290}" destId="{D6E0D405-80B5-41C9-BA40-241ED6F7BEF7}" srcOrd="0" destOrd="0" presId="urn:microsoft.com/office/officeart/2008/layout/VerticalCurvedList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5576C96F-973C-4617-99FF-A2CF5BC19592}" srcId="{F010CF21-4A6D-44EF-A02C-3D5169816247}" destId="{A81200C5-638E-4D2D-A438-A8DC331E43A6}" srcOrd="4" destOrd="0" parTransId="{D6857FED-5D52-4D93-A5E9-CDA2868C24F2}" sibTransId="{F2E58C23-C2D1-48D8-8837-0243694B2BC0}"/>
    <dgm:cxn modelId="{5EA19C8C-0B3B-47BA-8917-6290C1148000}" type="presOf" srcId="{EA170BE0-6BAA-4419-B7B8-D3B43A25168B}" destId="{533E4732-3C45-4B06-B3ED-5B68324267BF}" srcOrd="0" destOrd="0" presId="urn:microsoft.com/office/officeart/2008/layout/VerticalCurvedList"/>
    <dgm:cxn modelId="{504E7D96-3FEE-44A7-B863-E9C6D9D3BE47}" srcId="{F010CF21-4A6D-44EF-A02C-3D5169816247}" destId="{582BEB5B-16C0-4E34-A2A7-BF08763F5506}" srcOrd="2" destOrd="0" parTransId="{CE9B8CA3-8339-4546-AB97-49D2FD27FF51}" sibTransId="{3D92AD6F-1F61-410F-8EB2-D71374881682}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79977699-DC0F-4A23-A83C-6725786405BD}" type="presOf" srcId="{582BEB5B-16C0-4E34-A2A7-BF08763F5506}" destId="{AA0F0E10-5726-4767-844F-C84D447FA39C}" srcOrd="0" destOrd="0" presId="urn:microsoft.com/office/officeart/2008/layout/VerticalCurvedList"/>
    <dgm:cxn modelId="{C19280C7-BF65-4FA6-B5F7-162F3CBC5034}" srcId="{F010CF21-4A6D-44EF-A02C-3D5169816247}" destId="{9808EA6F-94E3-4700-8797-B3AB155FF290}" srcOrd="5" destOrd="0" parTransId="{0EB1616F-D88A-4787-9C97-07AE93F6C8F6}" sibTransId="{59ACC829-B681-4FCD-B303-85D88C26405D}"/>
    <dgm:cxn modelId="{37C59FCA-BFC8-4341-BD6B-B0EBE5FE139C}" type="presOf" srcId="{412A490A-E867-48DF-A233-4516379317CC}" destId="{D514D2C7-336E-4299-AE25-25164E82EE2D}" srcOrd="0" destOrd="0" presId="urn:microsoft.com/office/officeart/2008/layout/VerticalCurvedList"/>
    <dgm:cxn modelId="{19ADF6E0-99FE-4112-AB41-C70F31EA2271}" srcId="{F010CF21-4A6D-44EF-A02C-3D5169816247}" destId="{2B39F1B1-1600-498D-AC41-2BEA81C66B33}" srcOrd="6" destOrd="0" parTransId="{B2C781C4-B752-4707-A7D1-EF897E83B376}" sibTransId="{0024BA8F-4365-4173-B63D-CE5F1B6B737E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185C81FA-9A99-4F04-BBAA-89ACD41AAB07}" type="presOf" srcId="{2B39F1B1-1600-498D-AC41-2BEA81C66B33}" destId="{3B1484DA-F60D-465E-876E-DBD58AE21DB5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BAE01D67-76A8-4B4E-A73A-7732CC4FC056}" type="presParOf" srcId="{43AFC4E7-46DA-4B7B-B201-0A406A05CAD2}" destId="{D514D2C7-336E-4299-AE25-25164E82EE2D}" srcOrd="3" destOrd="0" presId="urn:microsoft.com/office/officeart/2008/layout/VerticalCurvedList"/>
    <dgm:cxn modelId="{4EACCC28-0BF8-4B40-8B0F-D43ADD9130FA}" type="presParOf" srcId="{43AFC4E7-46DA-4B7B-B201-0A406A05CAD2}" destId="{EFD23457-EDFF-4814-8B3C-CD60078A7D9E}" srcOrd="4" destOrd="0" presId="urn:microsoft.com/office/officeart/2008/layout/VerticalCurvedList"/>
    <dgm:cxn modelId="{F270B941-11D2-433F-9C88-608518F94FA6}" type="presParOf" srcId="{EFD23457-EDFF-4814-8B3C-CD60078A7D9E}" destId="{838C1B33-DD0E-4CBE-947F-342F06D30CE5}" srcOrd="0" destOrd="0" presId="urn:microsoft.com/office/officeart/2008/layout/VerticalCurvedList"/>
    <dgm:cxn modelId="{48EFEA63-0C4C-4FFB-8291-49D65CF97DE6}" type="presParOf" srcId="{43AFC4E7-46DA-4B7B-B201-0A406A05CAD2}" destId="{AA0F0E10-5726-4767-844F-C84D447FA39C}" srcOrd="5" destOrd="0" presId="urn:microsoft.com/office/officeart/2008/layout/VerticalCurvedList"/>
    <dgm:cxn modelId="{E6D492D6-52EB-48F6-9B18-46C1D0D7F7F6}" type="presParOf" srcId="{43AFC4E7-46DA-4B7B-B201-0A406A05CAD2}" destId="{7C2D4D0E-D052-4D06-A4AD-0DFA5D096E10}" srcOrd="6" destOrd="0" presId="urn:microsoft.com/office/officeart/2008/layout/VerticalCurvedList"/>
    <dgm:cxn modelId="{01DEB05F-6A11-4DB5-ADDD-F73D0CCD9DF1}" type="presParOf" srcId="{7C2D4D0E-D052-4D06-A4AD-0DFA5D096E10}" destId="{B3ADA0D2-BF2C-4B7F-BD8A-C09A230B5170}" srcOrd="0" destOrd="0" presId="urn:microsoft.com/office/officeart/2008/layout/VerticalCurvedList"/>
    <dgm:cxn modelId="{61691C1D-BCB7-4F55-A691-BC416184AACF}" type="presParOf" srcId="{43AFC4E7-46DA-4B7B-B201-0A406A05CAD2}" destId="{533E4732-3C45-4B06-B3ED-5B68324267BF}" srcOrd="7" destOrd="0" presId="urn:microsoft.com/office/officeart/2008/layout/VerticalCurvedList"/>
    <dgm:cxn modelId="{5FE07D5B-EEEB-4DC6-B3B0-D2D98DF373A5}" type="presParOf" srcId="{43AFC4E7-46DA-4B7B-B201-0A406A05CAD2}" destId="{ACDF5E31-6B40-47B1-989B-99C691B33FD1}" srcOrd="8" destOrd="0" presId="urn:microsoft.com/office/officeart/2008/layout/VerticalCurvedList"/>
    <dgm:cxn modelId="{E8B6C664-32D2-40F1-B3A6-16D05E55AB91}" type="presParOf" srcId="{ACDF5E31-6B40-47B1-989B-99C691B33FD1}" destId="{15F431B3-2E60-44A3-8D27-949571BAC0F8}" srcOrd="0" destOrd="0" presId="urn:microsoft.com/office/officeart/2008/layout/VerticalCurvedList"/>
    <dgm:cxn modelId="{8BA8CBD4-7431-48D1-9EF9-C32420C218FA}" type="presParOf" srcId="{43AFC4E7-46DA-4B7B-B201-0A406A05CAD2}" destId="{124D3E7C-92E9-490C-B577-92A73403BF31}" srcOrd="9" destOrd="0" presId="urn:microsoft.com/office/officeart/2008/layout/VerticalCurvedList"/>
    <dgm:cxn modelId="{D4E4F867-D6BC-4CC1-B182-F7CABA468102}" type="presParOf" srcId="{43AFC4E7-46DA-4B7B-B201-0A406A05CAD2}" destId="{6E00E2A0-019F-48EC-B0ED-2CFE6C6BF08C}" srcOrd="10" destOrd="0" presId="urn:microsoft.com/office/officeart/2008/layout/VerticalCurvedList"/>
    <dgm:cxn modelId="{B1A9D814-F51F-4EFC-AD20-9A7507AD7910}" type="presParOf" srcId="{6E00E2A0-019F-48EC-B0ED-2CFE6C6BF08C}" destId="{73790646-36F1-4832-8BF2-6BF111A6C861}" srcOrd="0" destOrd="0" presId="urn:microsoft.com/office/officeart/2008/layout/VerticalCurvedList"/>
    <dgm:cxn modelId="{1CE319F5-55BE-48F4-A1C2-19F4B2050947}" type="presParOf" srcId="{43AFC4E7-46DA-4B7B-B201-0A406A05CAD2}" destId="{D6E0D405-80B5-41C9-BA40-241ED6F7BEF7}" srcOrd="11" destOrd="0" presId="urn:microsoft.com/office/officeart/2008/layout/VerticalCurvedList"/>
    <dgm:cxn modelId="{CE41915F-EE65-4248-86E0-9B784355080C}" type="presParOf" srcId="{43AFC4E7-46DA-4B7B-B201-0A406A05CAD2}" destId="{A3F4F0E2-3D0E-439C-91A6-898C80A6C31C}" srcOrd="12" destOrd="0" presId="urn:microsoft.com/office/officeart/2008/layout/VerticalCurvedList"/>
    <dgm:cxn modelId="{B23D0935-ABA8-45D5-82D9-068762185477}" type="presParOf" srcId="{A3F4F0E2-3D0E-439C-91A6-898C80A6C31C}" destId="{DC7255E1-6218-429A-B98F-94BCAC7D47CB}" srcOrd="0" destOrd="0" presId="urn:microsoft.com/office/officeart/2008/layout/VerticalCurvedList"/>
    <dgm:cxn modelId="{30DC75F9-B0AC-41AE-8C3E-7DB51B30ECA5}" type="presParOf" srcId="{43AFC4E7-46DA-4B7B-B201-0A406A05CAD2}" destId="{3B1484DA-F60D-465E-876E-DBD58AE21DB5}" srcOrd="13" destOrd="0" presId="urn:microsoft.com/office/officeart/2008/layout/VerticalCurvedList"/>
    <dgm:cxn modelId="{492456DD-8573-47A4-86FB-7BF008DD19F1}" type="presParOf" srcId="{43AFC4E7-46DA-4B7B-B201-0A406A05CAD2}" destId="{D2E4D9C7-068A-4F5E-8737-1AAE1D468584}" srcOrd="14" destOrd="0" presId="urn:microsoft.com/office/officeart/2008/layout/VerticalCurvedList"/>
    <dgm:cxn modelId="{BF82FF67-3A54-4C3F-8015-79968E7C1332}" type="presParOf" srcId="{D2E4D9C7-068A-4F5E-8737-1AAE1D468584}" destId="{91950BAA-3AA9-4C1C-9CD3-873C2CBA66D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DC6C26B-5C44-4280-9EB3-068FD976E089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6DE3086-D6B2-489F-AF48-8912E4EC9D72}">
      <dgm:prSet phldrT="[Texte]" custT="1"/>
      <dgm:spPr/>
      <dgm:t>
        <a:bodyPr/>
        <a:lstStyle/>
        <a:p>
          <a:r>
            <a:rPr lang="fr-FR" sz="2400" dirty="0">
              <a:solidFill>
                <a:schemeClr val="tx1"/>
              </a:solidFill>
            </a:rPr>
            <a:t>Elus d’HERBLAY</a:t>
          </a:r>
        </a:p>
      </dgm:t>
    </dgm:pt>
    <dgm:pt modelId="{518E41D5-5D2B-48D8-8E50-947DB28AEA31}" type="parTrans" cxnId="{70917F5B-0E35-4A2A-88D5-B45EBFE53C87}">
      <dgm:prSet/>
      <dgm:spPr/>
      <dgm:t>
        <a:bodyPr/>
        <a:lstStyle/>
        <a:p>
          <a:endParaRPr lang="fr-FR" sz="2800"/>
        </a:p>
      </dgm:t>
    </dgm:pt>
    <dgm:pt modelId="{0DB38E35-C61B-4A48-A372-8FCB75FC5BF9}" type="sibTrans" cxnId="{70917F5B-0E35-4A2A-88D5-B45EBFE53C87}">
      <dgm:prSet/>
      <dgm:spPr/>
      <dgm:t>
        <a:bodyPr/>
        <a:lstStyle/>
        <a:p>
          <a:endParaRPr lang="fr-FR" sz="2800"/>
        </a:p>
      </dgm:t>
    </dgm:pt>
    <dgm:pt modelId="{E7A6D2EE-2FCB-4C10-9D9D-5E61B8C49FEA}">
      <dgm:prSet phldrT="[Texte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Services de la Ville</a:t>
          </a:r>
        </a:p>
      </dgm:t>
    </dgm:pt>
    <dgm:pt modelId="{BBD1B47A-8210-403D-BF33-68BE3F794F6C}" type="parTrans" cxnId="{D445F18D-47F2-42BB-8B52-64A8552A8B9C}">
      <dgm:prSet/>
      <dgm:spPr/>
      <dgm:t>
        <a:bodyPr/>
        <a:lstStyle/>
        <a:p>
          <a:endParaRPr lang="fr-FR" sz="2800"/>
        </a:p>
      </dgm:t>
    </dgm:pt>
    <dgm:pt modelId="{72B07F42-027A-4A6E-B634-2079767EC72A}" type="sibTrans" cxnId="{D445F18D-47F2-42BB-8B52-64A8552A8B9C}">
      <dgm:prSet/>
      <dgm:spPr/>
      <dgm:t>
        <a:bodyPr/>
        <a:lstStyle/>
        <a:p>
          <a:endParaRPr lang="fr-FR" sz="2800"/>
        </a:p>
      </dgm:t>
    </dgm:pt>
    <dgm:pt modelId="{12779662-B3F8-4710-ADEE-2BEA2DF93632}">
      <dgm:prSet phldrT="[Texte]" custT="1"/>
      <dgm:spPr>
        <a:solidFill>
          <a:srgbClr val="FF0000"/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Adhérents</a:t>
          </a:r>
        </a:p>
      </dgm:t>
    </dgm:pt>
    <dgm:pt modelId="{D4F53988-095A-4099-876F-C0E3C417E2EE}" type="parTrans" cxnId="{5A588D24-8742-462B-832A-01DBF8789EEB}">
      <dgm:prSet/>
      <dgm:spPr/>
      <dgm:t>
        <a:bodyPr/>
        <a:lstStyle/>
        <a:p>
          <a:endParaRPr lang="fr-FR" sz="2800"/>
        </a:p>
      </dgm:t>
    </dgm:pt>
    <dgm:pt modelId="{3C5701BA-391C-4E91-B535-08C709BB89B9}" type="sibTrans" cxnId="{5A588D24-8742-462B-832A-01DBF8789EEB}">
      <dgm:prSet/>
      <dgm:spPr/>
      <dgm:t>
        <a:bodyPr/>
        <a:lstStyle/>
        <a:p>
          <a:endParaRPr lang="fr-FR" sz="2800"/>
        </a:p>
      </dgm:t>
    </dgm:pt>
    <dgm:pt modelId="{5620B244-DBE7-4A4A-826A-3DF264E26B6A}">
      <dgm:prSet phldrT="[Texte]" custT="1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Parents</a:t>
          </a:r>
        </a:p>
      </dgm:t>
    </dgm:pt>
    <dgm:pt modelId="{8DB123A2-1991-4953-81F2-50DECC9648E8}" type="parTrans" cxnId="{9ACAEA0C-ADB2-4872-8214-A15F755124E9}">
      <dgm:prSet/>
      <dgm:spPr/>
      <dgm:t>
        <a:bodyPr/>
        <a:lstStyle/>
        <a:p>
          <a:endParaRPr lang="fr-FR" sz="2800"/>
        </a:p>
      </dgm:t>
    </dgm:pt>
    <dgm:pt modelId="{D2D4532C-0577-4870-BC45-0D10B9E1D07C}" type="sibTrans" cxnId="{9ACAEA0C-ADB2-4872-8214-A15F755124E9}">
      <dgm:prSet/>
      <dgm:spPr/>
      <dgm:t>
        <a:bodyPr/>
        <a:lstStyle/>
        <a:p>
          <a:endParaRPr lang="fr-FR" sz="2800"/>
        </a:p>
      </dgm:t>
    </dgm:pt>
    <dgm:pt modelId="{736A51FE-E49C-4364-B07D-F2DCF4CCE02A}">
      <dgm:prSet phldrT="[Texte]" custT="1"/>
      <dgm:spPr>
        <a:solidFill>
          <a:srgbClr val="FA7D7D"/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Administrateurs</a:t>
          </a:r>
        </a:p>
      </dgm:t>
    </dgm:pt>
    <dgm:pt modelId="{9BD0F94A-E92D-4CFC-86E9-336B2726AA72}" type="parTrans" cxnId="{49D361BB-904D-4A63-A864-A0BB629E1680}">
      <dgm:prSet/>
      <dgm:spPr/>
      <dgm:t>
        <a:bodyPr/>
        <a:lstStyle/>
        <a:p>
          <a:endParaRPr lang="fr-FR" sz="2800"/>
        </a:p>
      </dgm:t>
    </dgm:pt>
    <dgm:pt modelId="{EBA875C8-72DE-4222-8785-4A7F700EC9EB}" type="sibTrans" cxnId="{49D361BB-904D-4A63-A864-A0BB629E1680}">
      <dgm:prSet/>
      <dgm:spPr/>
      <dgm:t>
        <a:bodyPr/>
        <a:lstStyle/>
        <a:p>
          <a:endParaRPr lang="fr-FR" sz="2800"/>
        </a:p>
      </dgm:t>
    </dgm:pt>
    <dgm:pt modelId="{39CCAA7F-6CDD-4354-BD99-351D389C805C}">
      <dgm:prSet phldrT="[Texte]" custT="1"/>
      <dgm:spPr>
        <a:solidFill>
          <a:srgbClr val="92D050"/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Entraineurs</a:t>
          </a:r>
        </a:p>
      </dgm:t>
    </dgm:pt>
    <dgm:pt modelId="{088D8D5D-7351-46EE-B165-94AFAEBC488B}" type="parTrans" cxnId="{42911385-04BA-4C71-B49F-D88C4269E79D}">
      <dgm:prSet/>
      <dgm:spPr/>
      <dgm:t>
        <a:bodyPr/>
        <a:lstStyle/>
        <a:p>
          <a:endParaRPr lang="fr-FR" sz="2800"/>
        </a:p>
      </dgm:t>
    </dgm:pt>
    <dgm:pt modelId="{E8963229-82B5-49B6-B512-D8E2E27F30DF}" type="sibTrans" cxnId="{42911385-04BA-4C71-B49F-D88C4269E79D}">
      <dgm:prSet/>
      <dgm:spPr/>
      <dgm:t>
        <a:bodyPr/>
        <a:lstStyle/>
        <a:p>
          <a:endParaRPr lang="fr-FR" sz="2800"/>
        </a:p>
      </dgm:t>
    </dgm:pt>
    <dgm:pt modelId="{31EBA06E-ACC4-4D2D-8026-78AE7E1AF21E}">
      <dgm:prSet phldrT="[Texte]" custT="1"/>
      <dgm:spPr>
        <a:solidFill>
          <a:schemeClr val="accent2"/>
        </a:solidFill>
      </dgm:spPr>
      <dgm:t>
        <a:bodyPr/>
        <a:lstStyle/>
        <a:p>
          <a:r>
            <a:rPr lang="fr-FR" sz="2400" dirty="0">
              <a:solidFill>
                <a:schemeClr val="tx1"/>
              </a:solidFill>
            </a:rPr>
            <a:t>Les Partenaires</a:t>
          </a:r>
        </a:p>
      </dgm:t>
    </dgm:pt>
    <dgm:pt modelId="{FE3A9241-799A-4ACC-85CC-997E4C197D9A}" type="parTrans" cxnId="{F2B64098-9E6A-40E0-9D28-5243088F8C26}">
      <dgm:prSet/>
      <dgm:spPr/>
      <dgm:t>
        <a:bodyPr/>
        <a:lstStyle/>
        <a:p>
          <a:endParaRPr lang="fr-FR" sz="2800"/>
        </a:p>
      </dgm:t>
    </dgm:pt>
    <dgm:pt modelId="{22EE287E-9BD7-40C1-B5BC-7273009A9BEF}" type="sibTrans" cxnId="{F2B64098-9E6A-40E0-9D28-5243088F8C26}">
      <dgm:prSet/>
      <dgm:spPr/>
      <dgm:t>
        <a:bodyPr/>
        <a:lstStyle/>
        <a:p>
          <a:endParaRPr lang="fr-FR" sz="2800"/>
        </a:p>
      </dgm:t>
    </dgm:pt>
    <dgm:pt modelId="{54FD7199-B395-4937-BD68-E4F9BC35B2BC}" type="pres">
      <dgm:prSet presAssocID="{DDC6C26B-5C44-4280-9EB3-068FD976E089}" presName="cycle" presStyleCnt="0">
        <dgm:presLayoutVars>
          <dgm:dir/>
          <dgm:resizeHandles val="exact"/>
        </dgm:presLayoutVars>
      </dgm:prSet>
      <dgm:spPr/>
    </dgm:pt>
    <dgm:pt modelId="{D644DDD9-B6F8-4655-8D8B-43C9D6CB8B31}" type="pres">
      <dgm:prSet presAssocID="{96DE3086-D6B2-489F-AF48-8912E4EC9D72}" presName="node" presStyleLbl="node1" presStyleIdx="0" presStyleCnt="7">
        <dgm:presLayoutVars>
          <dgm:bulletEnabled val="1"/>
        </dgm:presLayoutVars>
      </dgm:prSet>
      <dgm:spPr/>
    </dgm:pt>
    <dgm:pt modelId="{0630CB0D-5484-48AC-974A-7422A6AC5BE4}" type="pres">
      <dgm:prSet presAssocID="{96DE3086-D6B2-489F-AF48-8912E4EC9D72}" presName="spNode" presStyleCnt="0"/>
      <dgm:spPr/>
    </dgm:pt>
    <dgm:pt modelId="{6AC8799C-ECCB-4A46-BF36-CC5BC71CC2D7}" type="pres">
      <dgm:prSet presAssocID="{0DB38E35-C61B-4A48-A372-8FCB75FC5BF9}" presName="sibTrans" presStyleLbl="sibTrans1D1" presStyleIdx="0" presStyleCnt="7"/>
      <dgm:spPr/>
    </dgm:pt>
    <dgm:pt modelId="{3E5D2AD9-4686-49B8-B72A-27931EEEC98A}" type="pres">
      <dgm:prSet presAssocID="{E7A6D2EE-2FCB-4C10-9D9D-5E61B8C49FEA}" presName="node" presStyleLbl="node1" presStyleIdx="1" presStyleCnt="7">
        <dgm:presLayoutVars>
          <dgm:bulletEnabled val="1"/>
        </dgm:presLayoutVars>
      </dgm:prSet>
      <dgm:spPr/>
    </dgm:pt>
    <dgm:pt modelId="{C4B0552B-2F5D-4824-9E58-DB9788997F5F}" type="pres">
      <dgm:prSet presAssocID="{E7A6D2EE-2FCB-4C10-9D9D-5E61B8C49FEA}" presName="spNode" presStyleCnt="0"/>
      <dgm:spPr/>
    </dgm:pt>
    <dgm:pt modelId="{51A1BF9F-D5BC-4532-A20E-C97178709D63}" type="pres">
      <dgm:prSet presAssocID="{72B07F42-027A-4A6E-B634-2079767EC72A}" presName="sibTrans" presStyleLbl="sibTrans1D1" presStyleIdx="1" presStyleCnt="7"/>
      <dgm:spPr/>
    </dgm:pt>
    <dgm:pt modelId="{BF2620E6-571C-4256-A0DD-CC7C9B162EE7}" type="pres">
      <dgm:prSet presAssocID="{12779662-B3F8-4710-ADEE-2BEA2DF93632}" presName="node" presStyleLbl="node1" presStyleIdx="2" presStyleCnt="7" custRadScaleRad="100277" custRadScaleInc="3945">
        <dgm:presLayoutVars>
          <dgm:bulletEnabled val="1"/>
        </dgm:presLayoutVars>
      </dgm:prSet>
      <dgm:spPr/>
    </dgm:pt>
    <dgm:pt modelId="{5699870B-CD9B-4443-A7E1-C210A6347CB8}" type="pres">
      <dgm:prSet presAssocID="{12779662-B3F8-4710-ADEE-2BEA2DF93632}" presName="spNode" presStyleCnt="0"/>
      <dgm:spPr/>
    </dgm:pt>
    <dgm:pt modelId="{324CD12F-8702-4DB9-8B3A-D36E9C436545}" type="pres">
      <dgm:prSet presAssocID="{3C5701BA-391C-4E91-B535-08C709BB89B9}" presName="sibTrans" presStyleLbl="sibTrans1D1" presStyleIdx="2" presStyleCnt="7"/>
      <dgm:spPr/>
    </dgm:pt>
    <dgm:pt modelId="{4627FD45-330A-4CCC-BE37-47EB0B9CA3C6}" type="pres">
      <dgm:prSet presAssocID="{5620B244-DBE7-4A4A-826A-3DF264E26B6A}" presName="node" presStyleLbl="node1" presStyleIdx="3" presStyleCnt="7">
        <dgm:presLayoutVars>
          <dgm:bulletEnabled val="1"/>
        </dgm:presLayoutVars>
      </dgm:prSet>
      <dgm:spPr/>
    </dgm:pt>
    <dgm:pt modelId="{481771C6-EFE7-494B-ABD6-1D6046A39F0C}" type="pres">
      <dgm:prSet presAssocID="{5620B244-DBE7-4A4A-826A-3DF264E26B6A}" presName="spNode" presStyleCnt="0"/>
      <dgm:spPr/>
    </dgm:pt>
    <dgm:pt modelId="{B4F13D4D-1EA3-4EC5-9AFC-5CC99767EFE6}" type="pres">
      <dgm:prSet presAssocID="{D2D4532C-0577-4870-BC45-0D10B9E1D07C}" presName="sibTrans" presStyleLbl="sibTrans1D1" presStyleIdx="3" presStyleCnt="7"/>
      <dgm:spPr/>
    </dgm:pt>
    <dgm:pt modelId="{80F3756C-447B-44FC-A73B-DF4F06606C29}" type="pres">
      <dgm:prSet presAssocID="{736A51FE-E49C-4364-B07D-F2DCF4CCE02A}" presName="node" presStyleLbl="node1" presStyleIdx="4" presStyleCnt="7">
        <dgm:presLayoutVars>
          <dgm:bulletEnabled val="1"/>
        </dgm:presLayoutVars>
      </dgm:prSet>
      <dgm:spPr/>
    </dgm:pt>
    <dgm:pt modelId="{1A892405-AF7C-4407-9E46-BC7586A9107A}" type="pres">
      <dgm:prSet presAssocID="{736A51FE-E49C-4364-B07D-F2DCF4CCE02A}" presName="spNode" presStyleCnt="0"/>
      <dgm:spPr/>
    </dgm:pt>
    <dgm:pt modelId="{98311ED8-5FE3-4118-B5BA-55D1B809ACD1}" type="pres">
      <dgm:prSet presAssocID="{EBA875C8-72DE-4222-8785-4A7F700EC9EB}" presName="sibTrans" presStyleLbl="sibTrans1D1" presStyleIdx="4" presStyleCnt="7"/>
      <dgm:spPr/>
    </dgm:pt>
    <dgm:pt modelId="{9EAF265E-4870-4BF1-B3C9-FE4520B01D93}" type="pres">
      <dgm:prSet presAssocID="{39CCAA7F-6CDD-4354-BD99-351D389C805C}" presName="node" presStyleLbl="node1" presStyleIdx="5" presStyleCnt="7">
        <dgm:presLayoutVars>
          <dgm:bulletEnabled val="1"/>
        </dgm:presLayoutVars>
      </dgm:prSet>
      <dgm:spPr/>
    </dgm:pt>
    <dgm:pt modelId="{10CF3F03-CC1D-42F7-91C3-4C8A15DB21EF}" type="pres">
      <dgm:prSet presAssocID="{39CCAA7F-6CDD-4354-BD99-351D389C805C}" presName="spNode" presStyleCnt="0"/>
      <dgm:spPr/>
    </dgm:pt>
    <dgm:pt modelId="{CEE12626-E5FE-44D1-A6FA-1003EBC65203}" type="pres">
      <dgm:prSet presAssocID="{E8963229-82B5-49B6-B512-D8E2E27F30DF}" presName="sibTrans" presStyleLbl="sibTrans1D1" presStyleIdx="5" presStyleCnt="7"/>
      <dgm:spPr/>
    </dgm:pt>
    <dgm:pt modelId="{8AD33B8F-34D6-478E-85D8-E777D4857678}" type="pres">
      <dgm:prSet presAssocID="{31EBA06E-ACC4-4D2D-8026-78AE7E1AF21E}" presName="node" presStyleLbl="node1" presStyleIdx="6" presStyleCnt="7">
        <dgm:presLayoutVars>
          <dgm:bulletEnabled val="1"/>
        </dgm:presLayoutVars>
      </dgm:prSet>
      <dgm:spPr/>
    </dgm:pt>
    <dgm:pt modelId="{0051ED3F-9C40-47F0-BF2C-DEAC401016C0}" type="pres">
      <dgm:prSet presAssocID="{31EBA06E-ACC4-4D2D-8026-78AE7E1AF21E}" presName="spNode" presStyleCnt="0"/>
      <dgm:spPr/>
    </dgm:pt>
    <dgm:pt modelId="{BE085A40-9F98-49A9-AE45-5C95D0B5B263}" type="pres">
      <dgm:prSet presAssocID="{22EE287E-9BD7-40C1-B5BC-7273009A9BEF}" presName="sibTrans" presStyleLbl="sibTrans1D1" presStyleIdx="6" presStyleCnt="7"/>
      <dgm:spPr/>
    </dgm:pt>
  </dgm:ptLst>
  <dgm:cxnLst>
    <dgm:cxn modelId="{9ACAEA0C-ADB2-4872-8214-A15F755124E9}" srcId="{DDC6C26B-5C44-4280-9EB3-068FD976E089}" destId="{5620B244-DBE7-4A4A-826A-3DF264E26B6A}" srcOrd="3" destOrd="0" parTransId="{8DB123A2-1991-4953-81F2-50DECC9648E8}" sibTransId="{D2D4532C-0577-4870-BC45-0D10B9E1D07C}"/>
    <dgm:cxn modelId="{5A588D24-8742-462B-832A-01DBF8789EEB}" srcId="{DDC6C26B-5C44-4280-9EB3-068FD976E089}" destId="{12779662-B3F8-4710-ADEE-2BEA2DF93632}" srcOrd="2" destOrd="0" parTransId="{D4F53988-095A-4099-876F-C0E3C417E2EE}" sibTransId="{3C5701BA-391C-4E91-B535-08C709BB89B9}"/>
    <dgm:cxn modelId="{FAB9D925-528C-41A6-A754-ED1DBC7AC365}" type="presOf" srcId="{22EE287E-9BD7-40C1-B5BC-7273009A9BEF}" destId="{BE085A40-9F98-49A9-AE45-5C95D0B5B263}" srcOrd="0" destOrd="0" presId="urn:microsoft.com/office/officeart/2005/8/layout/cycle6"/>
    <dgm:cxn modelId="{36E9852F-760D-4879-BA21-65CFB3291208}" type="presOf" srcId="{39CCAA7F-6CDD-4354-BD99-351D389C805C}" destId="{9EAF265E-4870-4BF1-B3C9-FE4520B01D93}" srcOrd="0" destOrd="0" presId="urn:microsoft.com/office/officeart/2005/8/layout/cycle6"/>
    <dgm:cxn modelId="{7B65C531-FFE7-4E3A-8A9A-35C3CB3C21C8}" type="presOf" srcId="{D2D4532C-0577-4870-BC45-0D10B9E1D07C}" destId="{B4F13D4D-1EA3-4EC5-9AFC-5CC99767EFE6}" srcOrd="0" destOrd="0" presId="urn:microsoft.com/office/officeart/2005/8/layout/cycle6"/>
    <dgm:cxn modelId="{0D1D7338-7175-4B27-835C-EA9A2F427A20}" type="presOf" srcId="{72B07F42-027A-4A6E-B634-2079767EC72A}" destId="{51A1BF9F-D5BC-4532-A20E-C97178709D63}" srcOrd="0" destOrd="0" presId="urn:microsoft.com/office/officeart/2005/8/layout/cycle6"/>
    <dgm:cxn modelId="{70917F5B-0E35-4A2A-88D5-B45EBFE53C87}" srcId="{DDC6C26B-5C44-4280-9EB3-068FD976E089}" destId="{96DE3086-D6B2-489F-AF48-8912E4EC9D72}" srcOrd="0" destOrd="0" parTransId="{518E41D5-5D2B-48D8-8E50-947DB28AEA31}" sibTransId="{0DB38E35-C61B-4A48-A372-8FCB75FC5BF9}"/>
    <dgm:cxn modelId="{50F4AC5D-856B-450E-92ED-DBAC53E603B0}" type="presOf" srcId="{736A51FE-E49C-4364-B07D-F2DCF4CCE02A}" destId="{80F3756C-447B-44FC-A73B-DF4F06606C29}" srcOrd="0" destOrd="0" presId="urn:microsoft.com/office/officeart/2005/8/layout/cycle6"/>
    <dgm:cxn modelId="{B8EFA342-0827-4378-A3BF-BCA34B9FD6C7}" type="presOf" srcId="{DDC6C26B-5C44-4280-9EB3-068FD976E089}" destId="{54FD7199-B395-4937-BD68-E4F9BC35B2BC}" srcOrd="0" destOrd="0" presId="urn:microsoft.com/office/officeart/2005/8/layout/cycle6"/>
    <dgm:cxn modelId="{5D00537A-4FB8-4F20-8EA1-E3794EFBF753}" type="presOf" srcId="{31EBA06E-ACC4-4D2D-8026-78AE7E1AF21E}" destId="{8AD33B8F-34D6-478E-85D8-E777D4857678}" srcOrd="0" destOrd="0" presId="urn:microsoft.com/office/officeart/2005/8/layout/cycle6"/>
    <dgm:cxn modelId="{3DD7CE7B-9F52-449A-A70B-A1A8785BFDC0}" type="presOf" srcId="{12779662-B3F8-4710-ADEE-2BEA2DF93632}" destId="{BF2620E6-571C-4256-A0DD-CC7C9B162EE7}" srcOrd="0" destOrd="0" presId="urn:microsoft.com/office/officeart/2005/8/layout/cycle6"/>
    <dgm:cxn modelId="{42911385-04BA-4C71-B49F-D88C4269E79D}" srcId="{DDC6C26B-5C44-4280-9EB3-068FD976E089}" destId="{39CCAA7F-6CDD-4354-BD99-351D389C805C}" srcOrd="5" destOrd="0" parTransId="{088D8D5D-7351-46EE-B165-94AFAEBC488B}" sibTransId="{E8963229-82B5-49B6-B512-D8E2E27F30DF}"/>
    <dgm:cxn modelId="{D445F18D-47F2-42BB-8B52-64A8552A8B9C}" srcId="{DDC6C26B-5C44-4280-9EB3-068FD976E089}" destId="{E7A6D2EE-2FCB-4C10-9D9D-5E61B8C49FEA}" srcOrd="1" destOrd="0" parTransId="{BBD1B47A-8210-403D-BF33-68BE3F794F6C}" sibTransId="{72B07F42-027A-4A6E-B634-2079767EC72A}"/>
    <dgm:cxn modelId="{F2B64098-9E6A-40E0-9D28-5243088F8C26}" srcId="{DDC6C26B-5C44-4280-9EB3-068FD976E089}" destId="{31EBA06E-ACC4-4D2D-8026-78AE7E1AF21E}" srcOrd="6" destOrd="0" parTransId="{FE3A9241-799A-4ACC-85CC-997E4C197D9A}" sibTransId="{22EE287E-9BD7-40C1-B5BC-7273009A9BEF}"/>
    <dgm:cxn modelId="{4AC64EB1-31AC-4A61-9E6F-A1699BF23627}" type="presOf" srcId="{EBA875C8-72DE-4222-8785-4A7F700EC9EB}" destId="{98311ED8-5FE3-4118-B5BA-55D1B809ACD1}" srcOrd="0" destOrd="0" presId="urn:microsoft.com/office/officeart/2005/8/layout/cycle6"/>
    <dgm:cxn modelId="{49D361BB-904D-4A63-A864-A0BB629E1680}" srcId="{DDC6C26B-5C44-4280-9EB3-068FD976E089}" destId="{736A51FE-E49C-4364-B07D-F2DCF4CCE02A}" srcOrd="4" destOrd="0" parTransId="{9BD0F94A-E92D-4CFC-86E9-336B2726AA72}" sibTransId="{EBA875C8-72DE-4222-8785-4A7F700EC9EB}"/>
    <dgm:cxn modelId="{3DDF9ABB-0C0F-499C-938E-E80E9FDCAF9D}" type="presOf" srcId="{5620B244-DBE7-4A4A-826A-3DF264E26B6A}" destId="{4627FD45-330A-4CCC-BE37-47EB0B9CA3C6}" srcOrd="0" destOrd="0" presId="urn:microsoft.com/office/officeart/2005/8/layout/cycle6"/>
    <dgm:cxn modelId="{F6E4B6BD-ED47-4286-A6B3-43B96F53B182}" type="presOf" srcId="{3C5701BA-391C-4E91-B535-08C709BB89B9}" destId="{324CD12F-8702-4DB9-8B3A-D36E9C436545}" srcOrd="0" destOrd="0" presId="urn:microsoft.com/office/officeart/2005/8/layout/cycle6"/>
    <dgm:cxn modelId="{9CEE18CD-D4B4-4018-93E8-A6883CD23CEB}" type="presOf" srcId="{E8963229-82B5-49B6-B512-D8E2E27F30DF}" destId="{CEE12626-E5FE-44D1-A6FA-1003EBC65203}" srcOrd="0" destOrd="0" presId="urn:microsoft.com/office/officeart/2005/8/layout/cycle6"/>
    <dgm:cxn modelId="{E4ACB6CF-9AA6-48CF-8DE5-1F7032095B56}" type="presOf" srcId="{0DB38E35-C61B-4A48-A372-8FCB75FC5BF9}" destId="{6AC8799C-ECCB-4A46-BF36-CC5BC71CC2D7}" srcOrd="0" destOrd="0" presId="urn:microsoft.com/office/officeart/2005/8/layout/cycle6"/>
    <dgm:cxn modelId="{6BED1BD3-2264-41F1-8424-1BF612C770E4}" type="presOf" srcId="{96DE3086-D6B2-489F-AF48-8912E4EC9D72}" destId="{D644DDD9-B6F8-4655-8D8B-43C9D6CB8B31}" srcOrd="0" destOrd="0" presId="urn:microsoft.com/office/officeart/2005/8/layout/cycle6"/>
    <dgm:cxn modelId="{C5E53FDB-CF14-499A-8E4C-0AD388BB870A}" type="presOf" srcId="{E7A6D2EE-2FCB-4C10-9D9D-5E61B8C49FEA}" destId="{3E5D2AD9-4686-49B8-B72A-27931EEEC98A}" srcOrd="0" destOrd="0" presId="urn:microsoft.com/office/officeart/2005/8/layout/cycle6"/>
    <dgm:cxn modelId="{E66C76A8-3C23-4A9A-A508-554A4AFAAB23}" type="presParOf" srcId="{54FD7199-B395-4937-BD68-E4F9BC35B2BC}" destId="{D644DDD9-B6F8-4655-8D8B-43C9D6CB8B31}" srcOrd="0" destOrd="0" presId="urn:microsoft.com/office/officeart/2005/8/layout/cycle6"/>
    <dgm:cxn modelId="{C10EC0EC-88A3-49FD-B7DA-C8C5A17E1D53}" type="presParOf" srcId="{54FD7199-B395-4937-BD68-E4F9BC35B2BC}" destId="{0630CB0D-5484-48AC-974A-7422A6AC5BE4}" srcOrd="1" destOrd="0" presId="urn:microsoft.com/office/officeart/2005/8/layout/cycle6"/>
    <dgm:cxn modelId="{19B10A98-4899-4CEF-82C7-704B58340B27}" type="presParOf" srcId="{54FD7199-B395-4937-BD68-E4F9BC35B2BC}" destId="{6AC8799C-ECCB-4A46-BF36-CC5BC71CC2D7}" srcOrd="2" destOrd="0" presId="urn:microsoft.com/office/officeart/2005/8/layout/cycle6"/>
    <dgm:cxn modelId="{FECC0461-0E78-4F81-86A5-1EB10A7CA085}" type="presParOf" srcId="{54FD7199-B395-4937-BD68-E4F9BC35B2BC}" destId="{3E5D2AD9-4686-49B8-B72A-27931EEEC98A}" srcOrd="3" destOrd="0" presId="urn:microsoft.com/office/officeart/2005/8/layout/cycle6"/>
    <dgm:cxn modelId="{96328A94-F657-4DB5-A099-9D4153F089DB}" type="presParOf" srcId="{54FD7199-B395-4937-BD68-E4F9BC35B2BC}" destId="{C4B0552B-2F5D-4824-9E58-DB9788997F5F}" srcOrd="4" destOrd="0" presId="urn:microsoft.com/office/officeart/2005/8/layout/cycle6"/>
    <dgm:cxn modelId="{766EBDEC-680F-4584-8DD0-B7C4159A6D6B}" type="presParOf" srcId="{54FD7199-B395-4937-BD68-E4F9BC35B2BC}" destId="{51A1BF9F-D5BC-4532-A20E-C97178709D63}" srcOrd="5" destOrd="0" presId="urn:microsoft.com/office/officeart/2005/8/layout/cycle6"/>
    <dgm:cxn modelId="{E2039CC3-5268-4FEC-BB7C-2E58B4C952E1}" type="presParOf" srcId="{54FD7199-B395-4937-BD68-E4F9BC35B2BC}" destId="{BF2620E6-571C-4256-A0DD-CC7C9B162EE7}" srcOrd="6" destOrd="0" presId="urn:microsoft.com/office/officeart/2005/8/layout/cycle6"/>
    <dgm:cxn modelId="{93C0031A-FE93-4EBD-AE19-500948B05026}" type="presParOf" srcId="{54FD7199-B395-4937-BD68-E4F9BC35B2BC}" destId="{5699870B-CD9B-4443-A7E1-C210A6347CB8}" srcOrd="7" destOrd="0" presId="urn:microsoft.com/office/officeart/2005/8/layout/cycle6"/>
    <dgm:cxn modelId="{AB2922B8-6793-4C1B-8ADA-DBA6F4F69DD4}" type="presParOf" srcId="{54FD7199-B395-4937-BD68-E4F9BC35B2BC}" destId="{324CD12F-8702-4DB9-8B3A-D36E9C436545}" srcOrd="8" destOrd="0" presId="urn:microsoft.com/office/officeart/2005/8/layout/cycle6"/>
    <dgm:cxn modelId="{49E94434-CC45-4A86-827A-0AD0E4C375CA}" type="presParOf" srcId="{54FD7199-B395-4937-BD68-E4F9BC35B2BC}" destId="{4627FD45-330A-4CCC-BE37-47EB0B9CA3C6}" srcOrd="9" destOrd="0" presId="urn:microsoft.com/office/officeart/2005/8/layout/cycle6"/>
    <dgm:cxn modelId="{32E833ED-9993-4EE5-B5E9-338B92F793FF}" type="presParOf" srcId="{54FD7199-B395-4937-BD68-E4F9BC35B2BC}" destId="{481771C6-EFE7-494B-ABD6-1D6046A39F0C}" srcOrd="10" destOrd="0" presId="urn:microsoft.com/office/officeart/2005/8/layout/cycle6"/>
    <dgm:cxn modelId="{A90D53D2-7BD0-4DAE-858D-6A5D0B1A2ED8}" type="presParOf" srcId="{54FD7199-B395-4937-BD68-E4F9BC35B2BC}" destId="{B4F13D4D-1EA3-4EC5-9AFC-5CC99767EFE6}" srcOrd="11" destOrd="0" presId="urn:microsoft.com/office/officeart/2005/8/layout/cycle6"/>
    <dgm:cxn modelId="{C2D83263-2805-4DAF-9F93-B996C5EEF1B8}" type="presParOf" srcId="{54FD7199-B395-4937-BD68-E4F9BC35B2BC}" destId="{80F3756C-447B-44FC-A73B-DF4F06606C29}" srcOrd="12" destOrd="0" presId="urn:microsoft.com/office/officeart/2005/8/layout/cycle6"/>
    <dgm:cxn modelId="{25451BC9-6A42-409E-A8B1-D88FA05D26A9}" type="presParOf" srcId="{54FD7199-B395-4937-BD68-E4F9BC35B2BC}" destId="{1A892405-AF7C-4407-9E46-BC7586A9107A}" srcOrd="13" destOrd="0" presId="urn:microsoft.com/office/officeart/2005/8/layout/cycle6"/>
    <dgm:cxn modelId="{4F371880-9719-44E2-903B-BB6A365F9BB4}" type="presParOf" srcId="{54FD7199-B395-4937-BD68-E4F9BC35B2BC}" destId="{98311ED8-5FE3-4118-B5BA-55D1B809ACD1}" srcOrd="14" destOrd="0" presId="urn:microsoft.com/office/officeart/2005/8/layout/cycle6"/>
    <dgm:cxn modelId="{A0987881-09E1-4635-8134-92911E88CAA1}" type="presParOf" srcId="{54FD7199-B395-4937-BD68-E4F9BC35B2BC}" destId="{9EAF265E-4870-4BF1-B3C9-FE4520B01D93}" srcOrd="15" destOrd="0" presId="urn:microsoft.com/office/officeart/2005/8/layout/cycle6"/>
    <dgm:cxn modelId="{E1F9E8B5-FD79-437A-B27C-C1BAD016BDC7}" type="presParOf" srcId="{54FD7199-B395-4937-BD68-E4F9BC35B2BC}" destId="{10CF3F03-CC1D-42F7-91C3-4C8A15DB21EF}" srcOrd="16" destOrd="0" presId="urn:microsoft.com/office/officeart/2005/8/layout/cycle6"/>
    <dgm:cxn modelId="{95BF162E-34FF-413E-B7ED-D5B9A1041022}" type="presParOf" srcId="{54FD7199-B395-4937-BD68-E4F9BC35B2BC}" destId="{CEE12626-E5FE-44D1-A6FA-1003EBC65203}" srcOrd="17" destOrd="0" presId="urn:microsoft.com/office/officeart/2005/8/layout/cycle6"/>
    <dgm:cxn modelId="{8C8F3076-573A-4C8B-A0BD-51CBB9EDF3C7}" type="presParOf" srcId="{54FD7199-B395-4937-BD68-E4F9BC35B2BC}" destId="{8AD33B8F-34D6-478E-85D8-E777D4857678}" srcOrd="18" destOrd="0" presId="urn:microsoft.com/office/officeart/2005/8/layout/cycle6"/>
    <dgm:cxn modelId="{28747210-435F-47C3-941B-75AFE4AA906A}" type="presParOf" srcId="{54FD7199-B395-4937-BD68-E4F9BC35B2BC}" destId="{0051ED3F-9C40-47F0-BF2C-DEAC401016C0}" srcOrd="19" destOrd="0" presId="urn:microsoft.com/office/officeart/2005/8/layout/cycle6"/>
    <dgm:cxn modelId="{18002A56-F786-43FE-8BAB-40BB8D14C521}" type="presParOf" srcId="{54FD7199-B395-4937-BD68-E4F9BC35B2BC}" destId="{BE085A40-9F98-49A9-AE45-5C95D0B5B263}" srcOrd="20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F010CF21-4A6D-44EF-A02C-3D51698162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59788018-3182-43A3-8988-94BE0745A02A}">
      <dgm:prSet phldrT="[Texte]" custT="1"/>
      <dgm:spPr/>
      <dgm:t>
        <a:bodyPr/>
        <a:lstStyle/>
        <a:p>
          <a:r>
            <a:rPr lang="fr-FR" sz="1800" dirty="0"/>
            <a:t>Rapport moral du Président </a:t>
          </a:r>
        </a:p>
      </dgm:t>
    </dgm:pt>
    <dgm:pt modelId="{0F449731-D9A8-453B-9CCE-25DFB8DF4287}" type="parTrans" cxnId="{127426EF-8ACA-4C2A-9DCA-089579810FA4}">
      <dgm:prSet/>
      <dgm:spPr/>
      <dgm:t>
        <a:bodyPr/>
        <a:lstStyle/>
        <a:p>
          <a:endParaRPr lang="fr-FR" sz="1400"/>
        </a:p>
      </dgm:t>
    </dgm:pt>
    <dgm:pt modelId="{F562CD0B-E8EB-4DBC-82FD-4F9ECF32E366}" type="sibTrans" cxnId="{127426EF-8ACA-4C2A-9DCA-089579810FA4}">
      <dgm:prSet/>
      <dgm:spPr/>
      <dgm:t>
        <a:bodyPr/>
        <a:lstStyle/>
        <a:p>
          <a:endParaRPr lang="fr-FR" sz="1400"/>
        </a:p>
      </dgm:t>
    </dgm:pt>
    <dgm:pt modelId="{412A490A-E867-48DF-A233-4516379317CC}">
      <dgm:prSet/>
      <dgm:spPr/>
      <dgm:t>
        <a:bodyPr/>
        <a:lstStyle/>
        <a:p>
          <a:r>
            <a:rPr lang="fr-FR" dirty="0"/>
            <a:t>Rapport financier de l’année 2018-2019</a:t>
          </a:r>
        </a:p>
      </dgm:t>
    </dgm:pt>
    <dgm:pt modelId="{216EC4D2-B974-40DE-B471-398E2FC0146F}" type="parTrans" cxnId="{BF5A2D03-881E-4934-8CFC-58A322B454DF}">
      <dgm:prSet/>
      <dgm:spPr/>
      <dgm:t>
        <a:bodyPr/>
        <a:lstStyle/>
        <a:p>
          <a:endParaRPr lang="fr-FR"/>
        </a:p>
      </dgm:t>
    </dgm:pt>
    <dgm:pt modelId="{48511D93-0E1F-4D25-8079-2B20F0A0F6E6}" type="sibTrans" cxnId="{BF5A2D03-881E-4934-8CFC-58A322B454DF}">
      <dgm:prSet/>
      <dgm:spPr/>
      <dgm:t>
        <a:bodyPr/>
        <a:lstStyle/>
        <a:p>
          <a:endParaRPr lang="fr-FR"/>
        </a:p>
      </dgm:t>
    </dgm:pt>
    <dgm:pt modelId="{582BEB5B-16C0-4E34-A2A7-BF08763F5506}">
      <dgm:prSet/>
      <dgm:spPr/>
      <dgm:t>
        <a:bodyPr/>
        <a:lstStyle/>
        <a:p>
          <a:r>
            <a:rPr lang="fr-FR" dirty="0"/>
            <a:t>Élections au Conseil d’Administration </a:t>
          </a:r>
        </a:p>
      </dgm:t>
    </dgm:pt>
    <dgm:pt modelId="{CE9B8CA3-8339-4546-AB97-49D2FD27FF51}" type="parTrans" cxnId="{504E7D96-3FEE-44A7-B863-E9C6D9D3BE47}">
      <dgm:prSet/>
      <dgm:spPr/>
      <dgm:t>
        <a:bodyPr/>
        <a:lstStyle/>
        <a:p>
          <a:endParaRPr lang="fr-FR"/>
        </a:p>
      </dgm:t>
    </dgm:pt>
    <dgm:pt modelId="{3D92AD6F-1F61-410F-8EB2-D71374881682}" type="sibTrans" cxnId="{504E7D96-3FEE-44A7-B863-E9C6D9D3BE47}">
      <dgm:prSet/>
      <dgm:spPr/>
      <dgm:t>
        <a:bodyPr/>
        <a:lstStyle/>
        <a:p>
          <a:endParaRPr lang="fr-FR"/>
        </a:p>
      </dgm:t>
    </dgm:pt>
    <dgm:pt modelId="{EA170BE0-6BAA-4419-B7B8-D3B43A25168B}">
      <dgm:prSet/>
      <dgm:spPr/>
      <dgm:t>
        <a:bodyPr/>
        <a:lstStyle/>
        <a:p>
          <a:r>
            <a:rPr lang="fr-FR" dirty="0"/>
            <a:t>Les rendez-vous 2019-2020</a:t>
          </a:r>
        </a:p>
      </dgm:t>
    </dgm:pt>
    <dgm:pt modelId="{DC4CF154-B710-49BB-AD1D-99D5F7AB0E46}" type="parTrans" cxnId="{FDF4D62A-A3B7-4D9D-88F4-834C5078AD21}">
      <dgm:prSet/>
      <dgm:spPr/>
      <dgm:t>
        <a:bodyPr/>
        <a:lstStyle/>
        <a:p>
          <a:endParaRPr lang="fr-FR"/>
        </a:p>
      </dgm:t>
    </dgm:pt>
    <dgm:pt modelId="{509FBA86-E539-4F37-A55D-C24E16D27ACB}" type="sibTrans" cxnId="{FDF4D62A-A3B7-4D9D-88F4-834C5078AD21}">
      <dgm:prSet/>
      <dgm:spPr/>
      <dgm:t>
        <a:bodyPr/>
        <a:lstStyle/>
        <a:p>
          <a:endParaRPr lang="fr-FR"/>
        </a:p>
      </dgm:t>
    </dgm:pt>
    <dgm:pt modelId="{A81200C5-638E-4D2D-A438-A8DC331E43A6}">
      <dgm:prSet/>
      <dgm:spPr/>
      <dgm:t>
        <a:bodyPr/>
        <a:lstStyle/>
        <a:p>
          <a:r>
            <a:rPr lang="fr-FR" dirty="0"/>
            <a:t>Budget de l’année 2019-2020</a:t>
          </a:r>
        </a:p>
      </dgm:t>
    </dgm:pt>
    <dgm:pt modelId="{D6857FED-5D52-4D93-A5E9-CDA2868C24F2}" type="parTrans" cxnId="{5576C96F-973C-4617-99FF-A2CF5BC19592}">
      <dgm:prSet/>
      <dgm:spPr/>
      <dgm:t>
        <a:bodyPr/>
        <a:lstStyle/>
        <a:p>
          <a:endParaRPr lang="fr-FR"/>
        </a:p>
      </dgm:t>
    </dgm:pt>
    <dgm:pt modelId="{F2E58C23-C2D1-48D8-8837-0243694B2BC0}" type="sibTrans" cxnId="{5576C96F-973C-4617-99FF-A2CF5BC19592}">
      <dgm:prSet/>
      <dgm:spPr/>
      <dgm:t>
        <a:bodyPr/>
        <a:lstStyle/>
        <a:p>
          <a:endParaRPr lang="fr-FR"/>
        </a:p>
      </dgm:t>
    </dgm:pt>
    <dgm:pt modelId="{9808EA6F-94E3-4700-8797-B3AB155FF290}">
      <dgm:prSet/>
      <dgm:spPr/>
      <dgm:t>
        <a:bodyPr/>
        <a:lstStyle/>
        <a:p>
          <a:r>
            <a:rPr lang="fr-FR" dirty="0"/>
            <a:t>Questions diverses</a:t>
          </a:r>
        </a:p>
      </dgm:t>
    </dgm:pt>
    <dgm:pt modelId="{0EB1616F-D88A-4787-9C97-07AE93F6C8F6}" type="parTrans" cxnId="{C19280C7-BF65-4FA6-B5F7-162F3CBC5034}">
      <dgm:prSet/>
      <dgm:spPr/>
      <dgm:t>
        <a:bodyPr/>
        <a:lstStyle/>
        <a:p>
          <a:endParaRPr lang="fr-FR"/>
        </a:p>
      </dgm:t>
    </dgm:pt>
    <dgm:pt modelId="{59ACC829-B681-4FCD-B303-85D88C26405D}" type="sibTrans" cxnId="{C19280C7-BF65-4FA6-B5F7-162F3CBC5034}">
      <dgm:prSet/>
      <dgm:spPr/>
      <dgm:t>
        <a:bodyPr/>
        <a:lstStyle/>
        <a:p>
          <a:endParaRPr lang="fr-FR"/>
        </a:p>
      </dgm:t>
    </dgm:pt>
    <dgm:pt modelId="{2B39F1B1-1600-498D-AC41-2BEA81C66B33}">
      <dgm:prSet phldrT="[Texte]"/>
      <dgm:spPr/>
      <dgm:t>
        <a:bodyPr/>
        <a:lstStyle/>
        <a:p>
          <a:r>
            <a:rPr lang="fr-FR" dirty="0"/>
            <a:t>Pot de l’amitié</a:t>
          </a:r>
        </a:p>
      </dgm:t>
    </dgm:pt>
    <dgm:pt modelId="{B2C781C4-B752-4707-A7D1-EF897E83B376}" type="parTrans" cxnId="{19ADF6E0-99FE-4112-AB41-C70F31EA2271}">
      <dgm:prSet/>
      <dgm:spPr/>
      <dgm:t>
        <a:bodyPr/>
        <a:lstStyle/>
        <a:p>
          <a:endParaRPr lang="fr-FR"/>
        </a:p>
      </dgm:t>
    </dgm:pt>
    <dgm:pt modelId="{0024BA8F-4365-4173-B63D-CE5F1B6B737E}" type="sibTrans" cxnId="{19ADF6E0-99FE-4112-AB41-C70F31EA2271}">
      <dgm:prSet/>
      <dgm:spPr/>
      <dgm:t>
        <a:bodyPr/>
        <a:lstStyle/>
        <a:p>
          <a:endParaRPr lang="fr-FR"/>
        </a:p>
      </dgm:t>
    </dgm:pt>
    <dgm:pt modelId="{08449366-2565-4365-85A6-6FD21C00BC0F}" type="pres">
      <dgm:prSet presAssocID="{F010CF21-4A6D-44EF-A02C-3D5169816247}" presName="Name0" presStyleCnt="0">
        <dgm:presLayoutVars>
          <dgm:chMax val="7"/>
          <dgm:chPref val="7"/>
          <dgm:dir/>
        </dgm:presLayoutVars>
      </dgm:prSet>
      <dgm:spPr/>
    </dgm:pt>
    <dgm:pt modelId="{43AFC4E7-46DA-4B7B-B201-0A406A05CAD2}" type="pres">
      <dgm:prSet presAssocID="{F010CF21-4A6D-44EF-A02C-3D5169816247}" presName="Name1" presStyleCnt="0"/>
      <dgm:spPr/>
    </dgm:pt>
    <dgm:pt modelId="{C89A3969-C068-41DF-977E-ED5F7B6D0CE6}" type="pres">
      <dgm:prSet presAssocID="{F010CF21-4A6D-44EF-A02C-3D5169816247}" presName="cycle" presStyleCnt="0"/>
      <dgm:spPr/>
    </dgm:pt>
    <dgm:pt modelId="{36B09AF6-20B6-459B-86E4-BA1ECCD29B61}" type="pres">
      <dgm:prSet presAssocID="{F010CF21-4A6D-44EF-A02C-3D5169816247}" presName="srcNode" presStyleLbl="node1" presStyleIdx="0" presStyleCnt="7"/>
      <dgm:spPr/>
    </dgm:pt>
    <dgm:pt modelId="{6940BDDF-1FEF-41BF-B9E9-0FFE3926A970}" type="pres">
      <dgm:prSet presAssocID="{F010CF21-4A6D-44EF-A02C-3D5169816247}" presName="conn" presStyleLbl="parChTrans1D2" presStyleIdx="0" presStyleCnt="1"/>
      <dgm:spPr/>
    </dgm:pt>
    <dgm:pt modelId="{CF948C64-B606-46D3-AF0E-5C95CC7F1D42}" type="pres">
      <dgm:prSet presAssocID="{F010CF21-4A6D-44EF-A02C-3D5169816247}" presName="extraNode" presStyleLbl="node1" presStyleIdx="0" presStyleCnt="7"/>
      <dgm:spPr/>
    </dgm:pt>
    <dgm:pt modelId="{4485BF69-EF87-4AEE-AFDF-DE2F8D2ACCD9}" type="pres">
      <dgm:prSet presAssocID="{F010CF21-4A6D-44EF-A02C-3D5169816247}" presName="dstNode" presStyleLbl="node1" presStyleIdx="0" presStyleCnt="7"/>
      <dgm:spPr/>
    </dgm:pt>
    <dgm:pt modelId="{54C74578-773C-4297-A4DE-1398F67BB91C}" type="pres">
      <dgm:prSet presAssocID="{59788018-3182-43A3-8988-94BE0745A02A}" presName="text_1" presStyleLbl="node1" presStyleIdx="0" presStyleCnt="7" custLinFactNeighborY="4204">
        <dgm:presLayoutVars>
          <dgm:bulletEnabled val="1"/>
        </dgm:presLayoutVars>
      </dgm:prSet>
      <dgm:spPr/>
    </dgm:pt>
    <dgm:pt modelId="{10D97C5B-BA88-4603-BEB8-816B9E26E1E0}" type="pres">
      <dgm:prSet presAssocID="{59788018-3182-43A3-8988-94BE0745A02A}" presName="accent_1" presStyleCnt="0"/>
      <dgm:spPr/>
    </dgm:pt>
    <dgm:pt modelId="{EBBCF617-4DDB-47D0-98C7-99413FA904B7}" type="pres">
      <dgm:prSet presAssocID="{59788018-3182-43A3-8988-94BE0745A02A}" presName="accentRepeatNode" presStyleLbl="solidFgAcc1" presStyleIdx="0" presStyleCnt="7"/>
      <dgm:spPr/>
    </dgm:pt>
    <dgm:pt modelId="{D514D2C7-336E-4299-AE25-25164E82EE2D}" type="pres">
      <dgm:prSet presAssocID="{412A490A-E867-48DF-A233-4516379317CC}" presName="text_2" presStyleLbl="node1" presStyleIdx="1" presStyleCnt="7">
        <dgm:presLayoutVars>
          <dgm:bulletEnabled val="1"/>
        </dgm:presLayoutVars>
      </dgm:prSet>
      <dgm:spPr/>
    </dgm:pt>
    <dgm:pt modelId="{EFD23457-EDFF-4814-8B3C-CD60078A7D9E}" type="pres">
      <dgm:prSet presAssocID="{412A490A-E867-48DF-A233-4516379317CC}" presName="accent_2" presStyleCnt="0"/>
      <dgm:spPr/>
    </dgm:pt>
    <dgm:pt modelId="{838C1B33-DD0E-4CBE-947F-342F06D30CE5}" type="pres">
      <dgm:prSet presAssocID="{412A490A-E867-48DF-A233-4516379317CC}" presName="accentRepeatNode" presStyleLbl="solidFgAcc1" presStyleIdx="1" presStyleCnt="7"/>
      <dgm:spPr/>
    </dgm:pt>
    <dgm:pt modelId="{AA0F0E10-5726-4767-844F-C84D447FA39C}" type="pres">
      <dgm:prSet presAssocID="{582BEB5B-16C0-4E34-A2A7-BF08763F5506}" presName="text_3" presStyleLbl="node1" presStyleIdx="2" presStyleCnt="7">
        <dgm:presLayoutVars>
          <dgm:bulletEnabled val="1"/>
        </dgm:presLayoutVars>
      </dgm:prSet>
      <dgm:spPr/>
    </dgm:pt>
    <dgm:pt modelId="{7C2D4D0E-D052-4D06-A4AD-0DFA5D096E10}" type="pres">
      <dgm:prSet presAssocID="{582BEB5B-16C0-4E34-A2A7-BF08763F5506}" presName="accent_3" presStyleCnt="0"/>
      <dgm:spPr/>
    </dgm:pt>
    <dgm:pt modelId="{B3ADA0D2-BF2C-4B7F-BD8A-C09A230B5170}" type="pres">
      <dgm:prSet presAssocID="{582BEB5B-16C0-4E34-A2A7-BF08763F5506}" presName="accentRepeatNode" presStyleLbl="solidFgAcc1" presStyleIdx="2" presStyleCnt="7"/>
      <dgm:spPr/>
    </dgm:pt>
    <dgm:pt modelId="{533E4732-3C45-4B06-B3ED-5B68324267BF}" type="pres">
      <dgm:prSet presAssocID="{EA170BE0-6BAA-4419-B7B8-D3B43A25168B}" presName="text_4" presStyleLbl="node1" presStyleIdx="3" presStyleCnt="7">
        <dgm:presLayoutVars>
          <dgm:bulletEnabled val="1"/>
        </dgm:presLayoutVars>
      </dgm:prSet>
      <dgm:spPr/>
    </dgm:pt>
    <dgm:pt modelId="{ACDF5E31-6B40-47B1-989B-99C691B33FD1}" type="pres">
      <dgm:prSet presAssocID="{EA170BE0-6BAA-4419-B7B8-D3B43A25168B}" presName="accent_4" presStyleCnt="0"/>
      <dgm:spPr/>
    </dgm:pt>
    <dgm:pt modelId="{15F431B3-2E60-44A3-8D27-949571BAC0F8}" type="pres">
      <dgm:prSet presAssocID="{EA170BE0-6BAA-4419-B7B8-D3B43A25168B}" presName="accentRepeatNode" presStyleLbl="solidFgAcc1" presStyleIdx="3" presStyleCnt="7"/>
      <dgm:spPr/>
    </dgm:pt>
    <dgm:pt modelId="{124D3E7C-92E9-490C-B577-92A73403BF31}" type="pres">
      <dgm:prSet presAssocID="{A81200C5-638E-4D2D-A438-A8DC331E43A6}" presName="text_5" presStyleLbl="node1" presStyleIdx="4" presStyleCnt="7">
        <dgm:presLayoutVars>
          <dgm:bulletEnabled val="1"/>
        </dgm:presLayoutVars>
      </dgm:prSet>
      <dgm:spPr/>
    </dgm:pt>
    <dgm:pt modelId="{6E00E2A0-019F-48EC-B0ED-2CFE6C6BF08C}" type="pres">
      <dgm:prSet presAssocID="{A81200C5-638E-4D2D-A438-A8DC331E43A6}" presName="accent_5" presStyleCnt="0"/>
      <dgm:spPr/>
    </dgm:pt>
    <dgm:pt modelId="{73790646-36F1-4832-8BF2-6BF111A6C861}" type="pres">
      <dgm:prSet presAssocID="{A81200C5-638E-4D2D-A438-A8DC331E43A6}" presName="accentRepeatNode" presStyleLbl="solidFgAcc1" presStyleIdx="4" presStyleCnt="7"/>
      <dgm:spPr/>
    </dgm:pt>
    <dgm:pt modelId="{D6E0D405-80B5-41C9-BA40-241ED6F7BEF7}" type="pres">
      <dgm:prSet presAssocID="{9808EA6F-94E3-4700-8797-B3AB155FF290}" presName="text_6" presStyleLbl="node1" presStyleIdx="5" presStyleCnt="7">
        <dgm:presLayoutVars>
          <dgm:bulletEnabled val="1"/>
        </dgm:presLayoutVars>
      </dgm:prSet>
      <dgm:spPr/>
    </dgm:pt>
    <dgm:pt modelId="{A3F4F0E2-3D0E-439C-91A6-898C80A6C31C}" type="pres">
      <dgm:prSet presAssocID="{9808EA6F-94E3-4700-8797-B3AB155FF290}" presName="accent_6" presStyleCnt="0"/>
      <dgm:spPr/>
    </dgm:pt>
    <dgm:pt modelId="{DC7255E1-6218-429A-B98F-94BCAC7D47CB}" type="pres">
      <dgm:prSet presAssocID="{9808EA6F-94E3-4700-8797-B3AB155FF290}" presName="accentRepeatNode" presStyleLbl="solidFgAcc1" presStyleIdx="5" presStyleCnt="7"/>
      <dgm:spPr/>
    </dgm:pt>
    <dgm:pt modelId="{3B1484DA-F60D-465E-876E-DBD58AE21DB5}" type="pres">
      <dgm:prSet presAssocID="{2B39F1B1-1600-498D-AC41-2BEA81C66B33}" presName="text_7" presStyleLbl="node1" presStyleIdx="6" presStyleCnt="7">
        <dgm:presLayoutVars>
          <dgm:bulletEnabled val="1"/>
        </dgm:presLayoutVars>
      </dgm:prSet>
      <dgm:spPr/>
    </dgm:pt>
    <dgm:pt modelId="{D2E4D9C7-068A-4F5E-8737-1AAE1D468584}" type="pres">
      <dgm:prSet presAssocID="{2B39F1B1-1600-498D-AC41-2BEA81C66B33}" presName="accent_7" presStyleCnt="0"/>
      <dgm:spPr/>
    </dgm:pt>
    <dgm:pt modelId="{91950BAA-3AA9-4C1C-9CD3-873C2CBA66D7}" type="pres">
      <dgm:prSet presAssocID="{2B39F1B1-1600-498D-AC41-2BEA81C66B33}" presName="accentRepeatNode" presStyleLbl="solidFgAcc1" presStyleIdx="6" presStyleCnt="7"/>
      <dgm:spPr/>
    </dgm:pt>
  </dgm:ptLst>
  <dgm:cxnLst>
    <dgm:cxn modelId="{BF5A2D03-881E-4934-8CFC-58A322B454DF}" srcId="{F010CF21-4A6D-44EF-A02C-3D5169816247}" destId="{412A490A-E867-48DF-A233-4516379317CC}" srcOrd="1" destOrd="0" parTransId="{216EC4D2-B974-40DE-B471-398E2FC0146F}" sibTransId="{48511D93-0E1F-4D25-8079-2B20F0A0F6E6}"/>
    <dgm:cxn modelId="{452D8818-3DE8-40CD-886F-240FD3EE4F59}" type="presOf" srcId="{A81200C5-638E-4D2D-A438-A8DC331E43A6}" destId="{124D3E7C-92E9-490C-B577-92A73403BF31}" srcOrd="0" destOrd="0" presId="urn:microsoft.com/office/officeart/2008/layout/VerticalCurvedList"/>
    <dgm:cxn modelId="{FDF4D62A-A3B7-4D9D-88F4-834C5078AD21}" srcId="{F010CF21-4A6D-44EF-A02C-3D5169816247}" destId="{EA170BE0-6BAA-4419-B7B8-D3B43A25168B}" srcOrd="3" destOrd="0" parTransId="{DC4CF154-B710-49BB-AD1D-99D5F7AB0E46}" sibTransId="{509FBA86-E539-4F37-A55D-C24E16D27ACB}"/>
    <dgm:cxn modelId="{A6C63432-2C8D-4CA9-B1EC-37A8A5DA6813}" type="presOf" srcId="{9808EA6F-94E3-4700-8797-B3AB155FF290}" destId="{D6E0D405-80B5-41C9-BA40-241ED6F7BEF7}" srcOrd="0" destOrd="0" presId="urn:microsoft.com/office/officeart/2008/layout/VerticalCurvedList"/>
    <dgm:cxn modelId="{6E4F5F35-0D7E-4E4D-AA5C-4E66D655145A}" type="presOf" srcId="{59788018-3182-43A3-8988-94BE0745A02A}" destId="{54C74578-773C-4297-A4DE-1398F67BB91C}" srcOrd="0" destOrd="0" presId="urn:microsoft.com/office/officeart/2008/layout/VerticalCurvedList"/>
    <dgm:cxn modelId="{5576C96F-973C-4617-99FF-A2CF5BC19592}" srcId="{F010CF21-4A6D-44EF-A02C-3D5169816247}" destId="{A81200C5-638E-4D2D-A438-A8DC331E43A6}" srcOrd="4" destOrd="0" parTransId="{D6857FED-5D52-4D93-A5E9-CDA2868C24F2}" sibTransId="{F2E58C23-C2D1-48D8-8837-0243694B2BC0}"/>
    <dgm:cxn modelId="{5EA19C8C-0B3B-47BA-8917-6290C1148000}" type="presOf" srcId="{EA170BE0-6BAA-4419-B7B8-D3B43A25168B}" destId="{533E4732-3C45-4B06-B3ED-5B68324267BF}" srcOrd="0" destOrd="0" presId="urn:microsoft.com/office/officeart/2008/layout/VerticalCurvedList"/>
    <dgm:cxn modelId="{504E7D96-3FEE-44A7-B863-E9C6D9D3BE47}" srcId="{F010CF21-4A6D-44EF-A02C-3D5169816247}" destId="{582BEB5B-16C0-4E34-A2A7-BF08763F5506}" srcOrd="2" destOrd="0" parTransId="{CE9B8CA3-8339-4546-AB97-49D2FD27FF51}" sibTransId="{3D92AD6F-1F61-410F-8EB2-D71374881682}"/>
    <dgm:cxn modelId="{47274B98-A3F8-B44A-8BC9-F42C0F4148D8}" type="presOf" srcId="{F010CF21-4A6D-44EF-A02C-3D5169816247}" destId="{08449366-2565-4365-85A6-6FD21C00BC0F}" srcOrd="0" destOrd="0" presId="urn:microsoft.com/office/officeart/2008/layout/VerticalCurvedList"/>
    <dgm:cxn modelId="{79977699-DC0F-4A23-A83C-6725786405BD}" type="presOf" srcId="{582BEB5B-16C0-4E34-A2A7-BF08763F5506}" destId="{AA0F0E10-5726-4767-844F-C84D447FA39C}" srcOrd="0" destOrd="0" presId="urn:microsoft.com/office/officeart/2008/layout/VerticalCurvedList"/>
    <dgm:cxn modelId="{C19280C7-BF65-4FA6-B5F7-162F3CBC5034}" srcId="{F010CF21-4A6D-44EF-A02C-3D5169816247}" destId="{9808EA6F-94E3-4700-8797-B3AB155FF290}" srcOrd="5" destOrd="0" parTransId="{0EB1616F-D88A-4787-9C97-07AE93F6C8F6}" sibTransId="{59ACC829-B681-4FCD-B303-85D88C26405D}"/>
    <dgm:cxn modelId="{37C59FCA-BFC8-4341-BD6B-B0EBE5FE139C}" type="presOf" srcId="{412A490A-E867-48DF-A233-4516379317CC}" destId="{D514D2C7-336E-4299-AE25-25164E82EE2D}" srcOrd="0" destOrd="0" presId="urn:microsoft.com/office/officeart/2008/layout/VerticalCurvedList"/>
    <dgm:cxn modelId="{19ADF6E0-99FE-4112-AB41-C70F31EA2271}" srcId="{F010CF21-4A6D-44EF-A02C-3D5169816247}" destId="{2B39F1B1-1600-498D-AC41-2BEA81C66B33}" srcOrd="6" destOrd="0" parTransId="{B2C781C4-B752-4707-A7D1-EF897E83B376}" sibTransId="{0024BA8F-4365-4173-B63D-CE5F1B6B737E}"/>
    <dgm:cxn modelId="{127426EF-8ACA-4C2A-9DCA-089579810FA4}" srcId="{F010CF21-4A6D-44EF-A02C-3D5169816247}" destId="{59788018-3182-43A3-8988-94BE0745A02A}" srcOrd="0" destOrd="0" parTransId="{0F449731-D9A8-453B-9CCE-25DFB8DF4287}" sibTransId="{F562CD0B-E8EB-4DBC-82FD-4F9ECF32E366}"/>
    <dgm:cxn modelId="{4BA219F5-DF5C-4A5A-8AD1-3305123A52BE}" type="presOf" srcId="{F562CD0B-E8EB-4DBC-82FD-4F9ECF32E366}" destId="{6940BDDF-1FEF-41BF-B9E9-0FFE3926A970}" srcOrd="0" destOrd="0" presId="urn:microsoft.com/office/officeart/2008/layout/VerticalCurvedList"/>
    <dgm:cxn modelId="{185C81FA-9A99-4F04-BBAA-89ACD41AAB07}" type="presOf" srcId="{2B39F1B1-1600-498D-AC41-2BEA81C66B33}" destId="{3B1484DA-F60D-465E-876E-DBD58AE21DB5}" srcOrd="0" destOrd="0" presId="urn:microsoft.com/office/officeart/2008/layout/VerticalCurvedList"/>
    <dgm:cxn modelId="{F061383E-55BE-644A-A054-B1BF76BC8A37}" type="presParOf" srcId="{08449366-2565-4365-85A6-6FD21C00BC0F}" destId="{43AFC4E7-46DA-4B7B-B201-0A406A05CAD2}" srcOrd="0" destOrd="0" presId="urn:microsoft.com/office/officeart/2008/layout/VerticalCurvedList"/>
    <dgm:cxn modelId="{6FF298EC-3580-F74F-90AB-72DC7E516CCF}" type="presParOf" srcId="{43AFC4E7-46DA-4B7B-B201-0A406A05CAD2}" destId="{C89A3969-C068-41DF-977E-ED5F7B6D0CE6}" srcOrd="0" destOrd="0" presId="urn:microsoft.com/office/officeart/2008/layout/VerticalCurvedList"/>
    <dgm:cxn modelId="{6729A3F8-BF06-514A-A444-B514AEEB00A8}" type="presParOf" srcId="{C89A3969-C068-41DF-977E-ED5F7B6D0CE6}" destId="{36B09AF6-20B6-459B-86E4-BA1ECCD29B61}" srcOrd="0" destOrd="0" presId="urn:microsoft.com/office/officeart/2008/layout/VerticalCurvedList"/>
    <dgm:cxn modelId="{6C2E9B69-AF8F-0148-8C74-F9F8288240F7}" type="presParOf" srcId="{C89A3969-C068-41DF-977E-ED5F7B6D0CE6}" destId="{6940BDDF-1FEF-41BF-B9E9-0FFE3926A970}" srcOrd="1" destOrd="0" presId="urn:microsoft.com/office/officeart/2008/layout/VerticalCurvedList"/>
    <dgm:cxn modelId="{D58DB0B2-11A2-5844-A5D6-88E4BC01A3D0}" type="presParOf" srcId="{C89A3969-C068-41DF-977E-ED5F7B6D0CE6}" destId="{CF948C64-B606-46D3-AF0E-5C95CC7F1D42}" srcOrd="2" destOrd="0" presId="urn:microsoft.com/office/officeart/2008/layout/VerticalCurvedList"/>
    <dgm:cxn modelId="{10696313-D083-2948-A140-15A5E3037090}" type="presParOf" srcId="{C89A3969-C068-41DF-977E-ED5F7B6D0CE6}" destId="{4485BF69-EF87-4AEE-AFDF-DE2F8D2ACCD9}" srcOrd="3" destOrd="0" presId="urn:microsoft.com/office/officeart/2008/layout/VerticalCurvedList"/>
    <dgm:cxn modelId="{3EED48A1-A558-C845-AADB-967072A92846}" type="presParOf" srcId="{43AFC4E7-46DA-4B7B-B201-0A406A05CAD2}" destId="{54C74578-773C-4297-A4DE-1398F67BB91C}" srcOrd="1" destOrd="0" presId="urn:microsoft.com/office/officeart/2008/layout/VerticalCurvedList"/>
    <dgm:cxn modelId="{482CF146-0D09-4849-B4E1-DC9831F36C1D}" type="presParOf" srcId="{43AFC4E7-46DA-4B7B-B201-0A406A05CAD2}" destId="{10D97C5B-BA88-4603-BEB8-816B9E26E1E0}" srcOrd="2" destOrd="0" presId="urn:microsoft.com/office/officeart/2008/layout/VerticalCurvedList"/>
    <dgm:cxn modelId="{76B9516D-0F20-FC4F-9CC0-824395ED95BC}" type="presParOf" srcId="{10D97C5B-BA88-4603-BEB8-816B9E26E1E0}" destId="{EBBCF617-4DDB-47D0-98C7-99413FA904B7}" srcOrd="0" destOrd="0" presId="urn:microsoft.com/office/officeart/2008/layout/VerticalCurvedList"/>
    <dgm:cxn modelId="{BAE01D67-76A8-4B4E-A73A-7732CC4FC056}" type="presParOf" srcId="{43AFC4E7-46DA-4B7B-B201-0A406A05CAD2}" destId="{D514D2C7-336E-4299-AE25-25164E82EE2D}" srcOrd="3" destOrd="0" presId="urn:microsoft.com/office/officeart/2008/layout/VerticalCurvedList"/>
    <dgm:cxn modelId="{4EACCC28-0BF8-4B40-8B0F-D43ADD9130FA}" type="presParOf" srcId="{43AFC4E7-46DA-4B7B-B201-0A406A05CAD2}" destId="{EFD23457-EDFF-4814-8B3C-CD60078A7D9E}" srcOrd="4" destOrd="0" presId="urn:microsoft.com/office/officeart/2008/layout/VerticalCurvedList"/>
    <dgm:cxn modelId="{F270B941-11D2-433F-9C88-608518F94FA6}" type="presParOf" srcId="{EFD23457-EDFF-4814-8B3C-CD60078A7D9E}" destId="{838C1B33-DD0E-4CBE-947F-342F06D30CE5}" srcOrd="0" destOrd="0" presId="urn:microsoft.com/office/officeart/2008/layout/VerticalCurvedList"/>
    <dgm:cxn modelId="{48EFEA63-0C4C-4FFB-8291-49D65CF97DE6}" type="presParOf" srcId="{43AFC4E7-46DA-4B7B-B201-0A406A05CAD2}" destId="{AA0F0E10-5726-4767-844F-C84D447FA39C}" srcOrd="5" destOrd="0" presId="urn:microsoft.com/office/officeart/2008/layout/VerticalCurvedList"/>
    <dgm:cxn modelId="{E6D492D6-52EB-48F6-9B18-46C1D0D7F7F6}" type="presParOf" srcId="{43AFC4E7-46DA-4B7B-B201-0A406A05CAD2}" destId="{7C2D4D0E-D052-4D06-A4AD-0DFA5D096E10}" srcOrd="6" destOrd="0" presId="urn:microsoft.com/office/officeart/2008/layout/VerticalCurvedList"/>
    <dgm:cxn modelId="{01DEB05F-6A11-4DB5-ADDD-F73D0CCD9DF1}" type="presParOf" srcId="{7C2D4D0E-D052-4D06-A4AD-0DFA5D096E10}" destId="{B3ADA0D2-BF2C-4B7F-BD8A-C09A230B5170}" srcOrd="0" destOrd="0" presId="urn:microsoft.com/office/officeart/2008/layout/VerticalCurvedList"/>
    <dgm:cxn modelId="{61691C1D-BCB7-4F55-A691-BC416184AACF}" type="presParOf" srcId="{43AFC4E7-46DA-4B7B-B201-0A406A05CAD2}" destId="{533E4732-3C45-4B06-B3ED-5B68324267BF}" srcOrd="7" destOrd="0" presId="urn:microsoft.com/office/officeart/2008/layout/VerticalCurvedList"/>
    <dgm:cxn modelId="{5FE07D5B-EEEB-4DC6-B3B0-D2D98DF373A5}" type="presParOf" srcId="{43AFC4E7-46DA-4B7B-B201-0A406A05CAD2}" destId="{ACDF5E31-6B40-47B1-989B-99C691B33FD1}" srcOrd="8" destOrd="0" presId="urn:microsoft.com/office/officeart/2008/layout/VerticalCurvedList"/>
    <dgm:cxn modelId="{E8B6C664-32D2-40F1-B3A6-16D05E55AB91}" type="presParOf" srcId="{ACDF5E31-6B40-47B1-989B-99C691B33FD1}" destId="{15F431B3-2E60-44A3-8D27-949571BAC0F8}" srcOrd="0" destOrd="0" presId="urn:microsoft.com/office/officeart/2008/layout/VerticalCurvedList"/>
    <dgm:cxn modelId="{8BA8CBD4-7431-48D1-9EF9-C32420C218FA}" type="presParOf" srcId="{43AFC4E7-46DA-4B7B-B201-0A406A05CAD2}" destId="{124D3E7C-92E9-490C-B577-92A73403BF31}" srcOrd="9" destOrd="0" presId="urn:microsoft.com/office/officeart/2008/layout/VerticalCurvedList"/>
    <dgm:cxn modelId="{D4E4F867-D6BC-4CC1-B182-F7CABA468102}" type="presParOf" srcId="{43AFC4E7-46DA-4B7B-B201-0A406A05CAD2}" destId="{6E00E2A0-019F-48EC-B0ED-2CFE6C6BF08C}" srcOrd="10" destOrd="0" presId="urn:microsoft.com/office/officeart/2008/layout/VerticalCurvedList"/>
    <dgm:cxn modelId="{B1A9D814-F51F-4EFC-AD20-9A7507AD7910}" type="presParOf" srcId="{6E00E2A0-019F-48EC-B0ED-2CFE6C6BF08C}" destId="{73790646-36F1-4832-8BF2-6BF111A6C861}" srcOrd="0" destOrd="0" presId="urn:microsoft.com/office/officeart/2008/layout/VerticalCurvedList"/>
    <dgm:cxn modelId="{1CE319F5-55BE-48F4-A1C2-19F4B2050947}" type="presParOf" srcId="{43AFC4E7-46DA-4B7B-B201-0A406A05CAD2}" destId="{D6E0D405-80B5-41C9-BA40-241ED6F7BEF7}" srcOrd="11" destOrd="0" presId="urn:microsoft.com/office/officeart/2008/layout/VerticalCurvedList"/>
    <dgm:cxn modelId="{CE41915F-EE65-4248-86E0-9B784355080C}" type="presParOf" srcId="{43AFC4E7-46DA-4B7B-B201-0A406A05CAD2}" destId="{A3F4F0E2-3D0E-439C-91A6-898C80A6C31C}" srcOrd="12" destOrd="0" presId="urn:microsoft.com/office/officeart/2008/layout/VerticalCurvedList"/>
    <dgm:cxn modelId="{B23D0935-ABA8-45D5-82D9-068762185477}" type="presParOf" srcId="{A3F4F0E2-3D0E-439C-91A6-898C80A6C31C}" destId="{DC7255E1-6218-429A-B98F-94BCAC7D47CB}" srcOrd="0" destOrd="0" presId="urn:microsoft.com/office/officeart/2008/layout/VerticalCurvedList"/>
    <dgm:cxn modelId="{30DC75F9-B0AC-41AE-8C3E-7DB51B30ECA5}" type="presParOf" srcId="{43AFC4E7-46DA-4B7B-B201-0A406A05CAD2}" destId="{3B1484DA-F60D-465E-876E-DBD58AE21DB5}" srcOrd="13" destOrd="0" presId="urn:microsoft.com/office/officeart/2008/layout/VerticalCurvedList"/>
    <dgm:cxn modelId="{492456DD-8573-47A4-86FB-7BF008DD19F1}" type="presParOf" srcId="{43AFC4E7-46DA-4B7B-B201-0A406A05CAD2}" destId="{D2E4D9C7-068A-4F5E-8737-1AAE1D468584}" srcOrd="14" destOrd="0" presId="urn:microsoft.com/office/officeart/2008/layout/VerticalCurvedList"/>
    <dgm:cxn modelId="{BF82FF67-3A54-4C3F-8015-79968E7C1332}" type="presParOf" srcId="{D2E4D9C7-068A-4F5E-8737-1AAE1D468584}" destId="{91950BAA-3AA9-4C1C-9CD3-873C2CBA66D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6272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42434" y="240561"/>
          <a:ext cx="8101915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Rapport moral du Président </a:t>
          </a:r>
        </a:p>
      </dsp:txBody>
      <dsp:txXfrm>
        <a:off x="342434" y="240561"/>
        <a:ext cx="8101915" cy="443627"/>
      </dsp:txXfrm>
    </dsp:sp>
    <dsp:sp modelId="{EBBCF617-4DDB-47D0-98C7-99413FA904B7}">
      <dsp:nvSpPr>
        <dsp:cNvPr id="0" name=""/>
        <dsp:cNvSpPr/>
      </dsp:nvSpPr>
      <dsp:spPr>
        <a:xfrm>
          <a:off x="65167" y="16645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3E6E9D-CEE0-4253-A8E7-0BD98EFB662C}">
      <dsp:nvSpPr>
        <dsp:cNvPr id="0" name=""/>
        <dsp:cNvSpPr/>
      </dsp:nvSpPr>
      <dsp:spPr>
        <a:xfrm>
          <a:off x="744179" y="887743"/>
          <a:ext cx="7700170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Rapport financier de l’année 2018-2019</a:t>
          </a:r>
        </a:p>
      </dsp:txBody>
      <dsp:txXfrm>
        <a:off x="744179" y="887743"/>
        <a:ext cx="7700170" cy="443627"/>
      </dsp:txXfrm>
    </dsp:sp>
    <dsp:sp modelId="{7A113706-4115-4E46-A0DB-BB2E4C947383}">
      <dsp:nvSpPr>
        <dsp:cNvPr id="0" name=""/>
        <dsp:cNvSpPr/>
      </dsp:nvSpPr>
      <dsp:spPr>
        <a:xfrm>
          <a:off x="466912" y="832290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0934E8-FFC7-4C4F-89BE-AC8E748C473B}">
      <dsp:nvSpPr>
        <dsp:cNvPr id="0" name=""/>
        <dsp:cNvSpPr/>
      </dsp:nvSpPr>
      <dsp:spPr>
        <a:xfrm>
          <a:off x="964333" y="1553087"/>
          <a:ext cx="7480016" cy="44362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Élections au Conseil d’Administration </a:t>
          </a:r>
        </a:p>
      </dsp:txBody>
      <dsp:txXfrm>
        <a:off x="964333" y="1553087"/>
        <a:ext cx="7480016" cy="443627"/>
      </dsp:txXfrm>
    </dsp:sp>
    <dsp:sp modelId="{0692BF8D-B063-4580-8A2D-225A14481CCD}">
      <dsp:nvSpPr>
        <dsp:cNvPr id="0" name=""/>
        <dsp:cNvSpPr/>
      </dsp:nvSpPr>
      <dsp:spPr>
        <a:xfrm>
          <a:off x="687066" y="149763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30CA03-71CB-414D-840B-5B6A74283EA0}">
      <dsp:nvSpPr>
        <dsp:cNvPr id="0" name=""/>
        <dsp:cNvSpPr/>
      </dsp:nvSpPr>
      <dsp:spPr>
        <a:xfrm>
          <a:off x="1034626" y="2218919"/>
          <a:ext cx="7409723" cy="443627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Les rendez-vous 2019-2020</a:t>
          </a:r>
        </a:p>
      </dsp:txBody>
      <dsp:txXfrm>
        <a:off x="1034626" y="2218919"/>
        <a:ext cx="7409723" cy="443627"/>
      </dsp:txXfrm>
    </dsp:sp>
    <dsp:sp modelId="{D60F798E-526C-4126-9782-B35CCE9CE8B1}">
      <dsp:nvSpPr>
        <dsp:cNvPr id="0" name=""/>
        <dsp:cNvSpPr/>
      </dsp:nvSpPr>
      <dsp:spPr>
        <a:xfrm>
          <a:off x="757359" y="2163466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C1980-00DC-4CF7-95B2-732EEE3E3F6A}">
      <dsp:nvSpPr>
        <dsp:cNvPr id="0" name=""/>
        <dsp:cNvSpPr/>
      </dsp:nvSpPr>
      <dsp:spPr>
        <a:xfrm>
          <a:off x="964333" y="2884751"/>
          <a:ext cx="7480016" cy="44362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Budget de l’année 2019-2020</a:t>
          </a:r>
        </a:p>
      </dsp:txBody>
      <dsp:txXfrm>
        <a:off x="964333" y="2884751"/>
        <a:ext cx="7480016" cy="443627"/>
      </dsp:txXfrm>
    </dsp:sp>
    <dsp:sp modelId="{1CAC461D-769E-43F1-85D8-A86E37EE9368}">
      <dsp:nvSpPr>
        <dsp:cNvPr id="0" name=""/>
        <dsp:cNvSpPr/>
      </dsp:nvSpPr>
      <dsp:spPr>
        <a:xfrm>
          <a:off x="687066" y="282929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F1E747-BE18-4ED3-AE21-6C22ED2B5B44}">
      <dsp:nvSpPr>
        <dsp:cNvPr id="0" name=""/>
        <dsp:cNvSpPr/>
      </dsp:nvSpPr>
      <dsp:spPr>
        <a:xfrm>
          <a:off x="744179" y="3550095"/>
          <a:ext cx="7700170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Questions diverses</a:t>
          </a:r>
        </a:p>
      </dsp:txBody>
      <dsp:txXfrm>
        <a:off x="744179" y="3550095"/>
        <a:ext cx="7700170" cy="443627"/>
      </dsp:txXfrm>
    </dsp:sp>
    <dsp:sp modelId="{5AF5E7EE-A04D-40FC-8300-CF20EEE80831}">
      <dsp:nvSpPr>
        <dsp:cNvPr id="0" name=""/>
        <dsp:cNvSpPr/>
      </dsp:nvSpPr>
      <dsp:spPr>
        <a:xfrm>
          <a:off x="466912" y="3494642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5F7C2F-A39A-43EB-A31F-1FF45A54D4DC}">
      <dsp:nvSpPr>
        <dsp:cNvPr id="0" name=""/>
        <dsp:cNvSpPr/>
      </dsp:nvSpPr>
      <dsp:spPr>
        <a:xfrm>
          <a:off x="342434" y="4215927"/>
          <a:ext cx="8101915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Pot de l’amitié</a:t>
          </a:r>
        </a:p>
      </dsp:txBody>
      <dsp:txXfrm>
        <a:off x="342434" y="4215927"/>
        <a:ext cx="8101915" cy="443627"/>
      </dsp:txXfrm>
    </dsp:sp>
    <dsp:sp modelId="{FBAD406B-D072-44FF-B20C-12A74070C89B}">
      <dsp:nvSpPr>
        <dsp:cNvPr id="0" name=""/>
        <dsp:cNvSpPr/>
      </dsp:nvSpPr>
      <dsp:spPr>
        <a:xfrm>
          <a:off x="65167" y="416047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F6BEF7-73A3-4FCE-88E9-13D2D906E9FD}">
      <dsp:nvSpPr>
        <dsp:cNvPr id="0" name=""/>
        <dsp:cNvSpPr/>
      </dsp:nvSpPr>
      <dsp:spPr>
        <a:xfrm rot="16200000">
          <a:off x="-1755544" y="2633892"/>
          <a:ext cx="4010622" cy="3936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7156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/>
            <a:t> </a:t>
          </a:r>
        </a:p>
      </dsp:txBody>
      <dsp:txXfrm>
        <a:off x="-1755544" y="2633892"/>
        <a:ext cx="4010622" cy="393625"/>
      </dsp:txXfrm>
    </dsp:sp>
    <dsp:sp modelId="{47EC222F-D8FC-43D8-8314-E4F633EC6C92}">
      <dsp:nvSpPr>
        <dsp:cNvPr id="0" name=""/>
        <dsp:cNvSpPr/>
      </dsp:nvSpPr>
      <dsp:spPr>
        <a:xfrm>
          <a:off x="446579" y="825393"/>
          <a:ext cx="1960673" cy="40106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347156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400" kern="1200" dirty="0"/>
            <a:t>Poursuivre l’optimisation du fonctionnement du CA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400" kern="1200" dirty="0"/>
            <a:t>Administrer et faire vivre le site Web et la page </a:t>
          </a:r>
          <a:r>
            <a:rPr lang="fr-FR" sz="1400" kern="1200" dirty="0" err="1"/>
            <a:t>Facebook</a:t>
          </a:r>
          <a:endParaRPr lang="fr-F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400" kern="1200" dirty="0"/>
            <a:t>Encourager la consultation des informations sur le site et sur FB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400" kern="1200" dirty="0"/>
            <a:t>Encourager la formation intern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400" kern="1200" dirty="0"/>
            <a:t>Développer le partenariat avec notre sponsor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400" kern="1200" dirty="0"/>
            <a:t>Investir sur des tenues club</a:t>
          </a:r>
        </a:p>
      </dsp:txBody>
      <dsp:txXfrm>
        <a:off x="446579" y="825393"/>
        <a:ext cx="1960673" cy="4010622"/>
      </dsp:txXfrm>
    </dsp:sp>
    <dsp:sp modelId="{7451B013-D031-4EAB-8179-2C342626A04E}">
      <dsp:nvSpPr>
        <dsp:cNvPr id="0" name=""/>
        <dsp:cNvSpPr/>
      </dsp:nvSpPr>
      <dsp:spPr>
        <a:xfrm>
          <a:off x="52953" y="305807"/>
          <a:ext cx="787251" cy="787251"/>
        </a:xfrm>
        <a:prstGeom prst="rect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5F37BCE-5602-48E1-B14A-B227FF69A86E}">
      <dsp:nvSpPr>
        <dsp:cNvPr id="0" name=""/>
        <dsp:cNvSpPr/>
      </dsp:nvSpPr>
      <dsp:spPr>
        <a:xfrm rot="16200000">
          <a:off x="1098959" y="2633892"/>
          <a:ext cx="4010622" cy="3936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7156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800" kern="1200" dirty="0"/>
        </a:p>
      </dsp:txBody>
      <dsp:txXfrm>
        <a:off x="1098959" y="2633892"/>
        <a:ext cx="4010622" cy="393625"/>
      </dsp:txXfrm>
    </dsp:sp>
    <dsp:sp modelId="{0BC2E776-948A-410C-BF98-F4DB96F4A8B6}">
      <dsp:nvSpPr>
        <dsp:cNvPr id="0" name=""/>
        <dsp:cNvSpPr/>
      </dsp:nvSpPr>
      <dsp:spPr>
        <a:xfrm>
          <a:off x="3214814" y="790902"/>
          <a:ext cx="1960673" cy="40106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347156" rIns="128016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Développer la compétition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Faire 2 tournois internes.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Améliorer le classement des jeunes.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Renforcer le lien avec les Etablissements scolaires</a:t>
          </a:r>
        </a:p>
      </dsp:txBody>
      <dsp:txXfrm>
        <a:off x="3214814" y="790902"/>
        <a:ext cx="1960673" cy="4010622"/>
      </dsp:txXfrm>
    </dsp:sp>
    <dsp:sp modelId="{7771BBF3-5345-401F-8B99-46595DEAA66D}">
      <dsp:nvSpPr>
        <dsp:cNvPr id="0" name=""/>
        <dsp:cNvSpPr/>
      </dsp:nvSpPr>
      <dsp:spPr>
        <a:xfrm>
          <a:off x="2907458" y="305807"/>
          <a:ext cx="787251" cy="787251"/>
        </a:xfrm>
        <a:prstGeom prst="rect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2FD7B3-2768-4E74-BA6C-480FABFAC2AA}">
      <dsp:nvSpPr>
        <dsp:cNvPr id="0" name=""/>
        <dsp:cNvSpPr/>
      </dsp:nvSpPr>
      <dsp:spPr>
        <a:xfrm rot="16200000">
          <a:off x="3953464" y="2633892"/>
          <a:ext cx="4010622" cy="3936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7156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800" kern="1200" dirty="0"/>
        </a:p>
      </dsp:txBody>
      <dsp:txXfrm>
        <a:off x="3953464" y="2633892"/>
        <a:ext cx="4010622" cy="393625"/>
      </dsp:txXfrm>
    </dsp:sp>
    <dsp:sp modelId="{0A23697B-03AD-469F-8E2F-1E089C400C82}">
      <dsp:nvSpPr>
        <dsp:cNvPr id="0" name=""/>
        <dsp:cNvSpPr/>
      </dsp:nvSpPr>
      <dsp:spPr>
        <a:xfrm>
          <a:off x="6155588" y="825393"/>
          <a:ext cx="1960673" cy="40106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347156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600" b="1" kern="1200" dirty="0"/>
            <a:t>Avoir 75 adhérents en GAM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600" b="1" kern="1200" dirty="0"/>
            <a:t>Avoir 12 adhérents en Mini Gym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600" b="1" kern="1200" dirty="0"/>
            <a:t>Développer les compétition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600" b="1" kern="1200" dirty="0"/>
            <a:t>Améliorer les conditions matérielles de pratique </a:t>
          </a:r>
        </a:p>
      </dsp:txBody>
      <dsp:txXfrm>
        <a:off x="6155588" y="825393"/>
        <a:ext cx="1960673" cy="4010622"/>
      </dsp:txXfrm>
    </dsp:sp>
    <dsp:sp modelId="{5CF46213-D342-44D1-9B49-D18C1A8586C3}">
      <dsp:nvSpPr>
        <dsp:cNvPr id="0" name=""/>
        <dsp:cNvSpPr/>
      </dsp:nvSpPr>
      <dsp:spPr>
        <a:xfrm>
          <a:off x="5761962" y="305807"/>
          <a:ext cx="787251" cy="787251"/>
        </a:xfrm>
        <a:prstGeom prst="rect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6272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42434" y="240561"/>
          <a:ext cx="8101915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Rapport moral du Président </a:t>
          </a:r>
        </a:p>
      </dsp:txBody>
      <dsp:txXfrm>
        <a:off x="342434" y="240561"/>
        <a:ext cx="8101915" cy="443627"/>
      </dsp:txXfrm>
    </dsp:sp>
    <dsp:sp modelId="{EBBCF617-4DDB-47D0-98C7-99413FA904B7}">
      <dsp:nvSpPr>
        <dsp:cNvPr id="0" name=""/>
        <dsp:cNvSpPr/>
      </dsp:nvSpPr>
      <dsp:spPr>
        <a:xfrm>
          <a:off x="65167" y="16645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4C4585-C245-4732-9DB5-3B6E58BD18B9}">
      <dsp:nvSpPr>
        <dsp:cNvPr id="0" name=""/>
        <dsp:cNvSpPr/>
      </dsp:nvSpPr>
      <dsp:spPr>
        <a:xfrm>
          <a:off x="744179" y="887743"/>
          <a:ext cx="7700170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Rapport financier de l’année 2018-2019</a:t>
          </a:r>
        </a:p>
      </dsp:txBody>
      <dsp:txXfrm>
        <a:off x="744179" y="887743"/>
        <a:ext cx="7700170" cy="443627"/>
      </dsp:txXfrm>
    </dsp:sp>
    <dsp:sp modelId="{B9D96FDE-FC74-40A9-9C06-6264AA94A37D}">
      <dsp:nvSpPr>
        <dsp:cNvPr id="0" name=""/>
        <dsp:cNvSpPr/>
      </dsp:nvSpPr>
      <dsp:spPr>
        <a:xfrm>
          <a:off x="466912" y="832290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80A84D-E543-4D51-9E7D-93934BEC8B2D}">
      <dsp:nvSpPr>
        <dsp:cNvPr id="0" name=""/>
        <dsp:cNvSpPr/>
      </dsp:nvSpPr>
      <dsp:spPr>
        <a:xfrm>
          <a:off x="964333" y="1553087"/>
          <a:ext cx="7480016" cy="44362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Élections au Conseil d’Administration </a:t>
          </a:r>
        </a:p>
      </dsp:txBody>
      <dsp:txXfrm>
        <a:off x="964333" y="1553087"/>
        <a:ext cx="7480016" cy="443627"/>
      </dsp:txXfrm>
    </dsp:sp>
    <dsp:sp modelId="{1B230A85-B3F9-4799-BB87-178601289762}">
      <dsp:nvSpPr>
        <dsp:cNvPr id="0" name=""/>
        <dsp:cNvSpPr/>
      </dsp:nvSpPr>
      <dsp:spPr>
        <a:xfrm>
          <a:off x="687066" y="149763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AC922E-C30C-4ED4-82A2-3ABCD0F74B06}">
      <dsp:nvSpPr>
        <dsp:cNvPr id="0" name=""/>
        <dsp:cNvSpPr/>
      </dsp:nvSpPr>
      <dsp:spPr>
        <a:xfrm>
          <a:off x="1034626" y="2218919"/>
          <a:ext cx="7409723" cy="443627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Les rendez-vous 2019-2020</a:t>
          </a:r>
        </a:p>
      </dsp:txBody>
      <dsp:txXfrm>
        <a:off x="1034626" y="2218919"/>
        <a:ext cx="7409723" cy="443627"/>
      </dsp:txXfrm>
    </dsp:sp>
    <dsp:sp modelId="{996B0623-2957-46D6-A740-B9D49F49F3DE}">
      <dsp:nvSpPr>
        <dsp:cNvPr id="0" name=""/>
        <dsp:cNvSpPr/>
      </dsp:nvSpPr>
      <dsp:spPr>
        <a:xfrm>
          <a:off x="757359" y="2163466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865F95-ADC2-4FA3-91DA-8ACAA743C549}">
      <dsp:nvSpPr>
        <dsp:cNvPr id="0" name=""/>
        <dsp:cNvSpPr/>
      </dsp:nvSpPr>
      <dsp:spPr>
        <a:xfrm>
          <a:off x="964333" y="2884751"/>
          <a:ext cx="7480016" cy="44362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Budget de l’année 2019-2020</a:t>
          </a:r>
        </a:p>
      </dsp:txBody>
      <dsp:txXfrm>
        <a:off x="964333" y="2884751"/>
        <a:ext cx="7480016" cy="443627"/>
      </dsp:txXfrm>
    </dsp:sp>
    <dsp:sp modelId="{43F5E926-0F18-467A-B5D4-8EAAB4DBA912}">
      <dsp:nvSpPr>
        <dsp:cNvPr id="0" name=""/>
        <dsp:cNvSpPr/>
      </dsp:nvSpPr>
      <dsp:spPr>
        <a:xfrm>
          <a:off x="687066" y="282929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70B6AC-9359-45A3-9846-39EA50A9FBAC}">
      <dsp:nvSpPr>
        <dsp:cNvPr id="0" name=""/>
        <dsp:cNvSpPr/>
      </dsp:nvSpPr>
      <dsp:spPr>
        <a:xfrm>
          <a:off x="744179" y="3550095"/>
          <a:ext cx="7700170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Questions diverses</a:t>
          </a:r>
        </a:p>
      </dsp:txBody>
      <dsp:txXfrm>
        <a:off x="744179" y="3550095"/>
        <a:ext cx="7700170" cy="443627"/>
      </dsp:txXfrm>
    </dsp:sp>
    <dsp:sp modelId="{6695887E-8636-4651-8D06-7E38BEB48E0A}">
      <dsp:nvSpPr>
        <dsp:cNvPr id="0" name=""/>
        <dsp:cNvSpPr/>
      </dsp:nvSpPr>
      <dsp:spPr>
        <a:xfrm>
          <a:off x="466912" y="3494642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1CD15C-7150-422E-AB4E-167BFE2C9E0D}">
      <dsp:nvSpPr>
        <dsp:cNvPr id="0" name=""/>
        <dsp:cNvSpPr/>
      </dsp:nvSpPr>
      <dsp:spPr>
        <a:xfrm>
          <a:off x="342434" y="4215927"/>
          <a:ext cx="8101915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Pot de l’amitié</a:t>
          </a:r>
        </a:p>
      </dsp:txBody>
      <dsp:txXfrm>
        <a:off x="342434" y="4215927"/>
        <a:ext cx="8101915" cy="443627"/>
      </dsp:txXfrm>
    </dsp:sp>
    <dsp:sp modelId="{71559C3F-566D-4256-949F-35FEAB285CFD}">
      <dsp:nvSpPr>
        <dsp:cNvPr id="0" name=""/>
        <dsp:cNvSpPr/>
      </dsp:nvSpPr>
      <dsp:spPr>
        <a:xfrm>
          <a:off x="65167" y="416047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6272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42434" y="240561"/>
          <a:ext cx="8101915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/>
            <a:t>Rapport moral du Président </a:t>
          </a:r>
          <a:endParaRPr lang="fr-FR" sz="1800" kern="1200" dirty="0"/>
        </a:p>
      </dsp:txBody>
      <dsp:txXfrm>
        <a:off x="342434" y="240561"/>
        <a:ext cx="8101915" cy="443627"/>
      </dsp:txXfrm>
    </dsp:sp>
    <dsp:sp modelId="{EBBCF617-4DDB-47D0-98C7-99413FA904B7}">
      <dsp:nvSpPr>
        <dsp:cNvPr id="0" name=""/>
        <dsp:cNvSpPr/>
      </dsp:nvSpPr>
      <dsp:spPr>
        <a:xfrm>
          <a:off x="65167" y="16645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028C3D-3462-40F1-B533-49AD39D55EB5}">
      <dsp:nvSpPr>
        <dsp:cNvPr id="0" name=""/>
        <dsp:cNvSpPr/>
      </dsp:nvSpPr>
      <dsp:spPr>
        <a:xfrm>
          <a:off x="744179" y="887743"/>
          <a:ext cx="7700170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Rapport financier de l’année 2018-2019</a:t>
          </a:r>
        </a:p>
      </dsp:txBody>
      <dsp:txXfrm>
        <a:off x="744179" y="887743"/>
        <a:ext cx="7700170" cy="443627"/>
      </dsp:txXfrm>
    </dsp:sp>
    <dsp:sp modelId="{5E99B3DE-52C3-41E4-96C0-C88197D89799}">
      <dsp:nvSpPr>
        <dsp:cNvPr id="0" name=""/>
        <dsp:cNvSpPr/>
      </dsp:nvSpPr>
      <dsp:spPr>
        <a:xfrm>
          <a:off x="466912" y="832290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8BD63E-9A5C-4A6A-A948-315F5A4BBFBF}">
      <dsp:nvSpPr>
        <dsp:cNvPr id="0" name=""/>
        <dsp:cNvSpPr/>
      </dsp:nvSpPr>
      <dsp:spPr>
        <a:xfrm>
          <a:off x="964333" y="1553087"/>
          <a:ext cx="7480016" cy="44362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Élections au Conseil d’Administration </a:t>
          </a:r>
        </a:p>
      </dsp:txBody>
      <dsp:txXfrm>
        <a:off x="964333" y="1553087"/>
        <a:ext cx="7480016" cy="443627"/>
      </dsp:txXfrm>
    </dsp:sp>
    <dsp:sp modelId="{34C195B1-459A-4853-A2D7-ECE472FA0371}">
      <dsp:nvSpPr>
        <dsp:cNvPr id="0" name=""/>
        <dsp:cNvSpPr/>
      </dsp:nvSpPr>
      <dsp:spPr>
        <a:xfrm>
          <a:off x="687066" y="149763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81900D-BA51-4B71-94E7-D2199514CADC}">
      <dsp:nvSpPr>
        <dsp:cNvPr id="0" name=""/>
        <dsp:cNvSpPr/>
      </dsp:nvSpPr>
      <dsp:spPr>
        <a:xfrm>
          <a:off x="1034626" y="2218919"/>
          <a:ext cx="7409723" cy="443627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Les rendez-vous 2019-2020</a:t>
          </a:r>
        </a:p>
      </dsp:txBody>
      <dsp:txXfrm>
        <a:off x="1034626" y="2218919"/>
        <a:ext cx="7409723" cy="443627"/>
      </dsp:txXfrm>
    </dsp:sp>
    <dsp:sp modelId="{DDD87EFA-4E1F-4750-BCCB-ABF085E1F04F}">
      <dsp:nvSpPr>
        <dsp:cNvPr id="0" name=""/>
        <dsp:cNvSpPr/>
      </dsp:nvSpPr>
      <dsp:spPr>
        <a:xfrm>
          <a:off x="757359" y="2163466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0F0BCD-CC6E-44BA-85FC-CEB193B21374}">
      <dsp:nvSpPr>
        <dsp:cNvPr id="0" name=""/>
        <dsp:cNvSpPr/>
      </dsp:nvSpPr>
      <dsp:spPr>
        <a:xfrm>
          <a:off x="964333" y="2884751"/>
          <a:ext cx="7480016" cy="44362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Budget de l’année 2019-2020</a:t>
          </a:r>
        </a:p>
      </dsp:txBody>
      <dsp:txXfrm>
        <a:off x="964333" y="2884751"/>
        <a:ext cx="7480016" cy="443627"/>
      </dsp:txXfrm>
    </dsp:sp>
    <dsp:sp modelId="{6203C8AD-E700-4909-A5B7-0AB9CAE64FC2}">
      <dsp:nvSpPr>
        <dsp:cNvPr id="0" name=""/>
        <dsp:cNvSpPr/>
      </dsp:nvSpPr>
      <dsp:spPr>
        <a:xfrm>
          <a:off x="687066" y="282929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F47A89-70C7-428E-8B51-ECC0D096D4FB}">
      <dsp:nvSpPr>
        <dsp:cNvPr id="0" name=""/>
        <dsp:cNvSpPr/>
      </dsp:nvSpPr>
      <dsp:spPr>
        <a:xfrm>
          <a:off x="744179" y="3550095"/>
          <a:ext cx="7700170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Questions diverses</a:t>
          </a:r>
        </a:p>
      </dsp:txBody>
      <dsp:txXfrm>
        <a:off x="744179" y="3550095"/>
        <a:ext cx="7700170" cy="443627"/>
      </dsp:txXfrm>
    </dsp:sp>
    <dsp:sp modelId="{A0CFC290-0B13-4ABB-9D7C-FEE2A50A67FC}">
      <dsp:nvSpPr>
        <dsp:cNvPr id="0" name=""/>
        <dsp:cNvSpPr/>
      </dsp:nvSpPr>
      <dsp:spPr>
        <a:xfrm>
          <a:off x="466912" y="3494642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E2A5C5-9E85-464E-8023-EFDB4900ACC9}">
      <dsp:nvSpPr>
        <dsp:cNvPr id="0" name=""/>
        <dsp:cNvSpPr/>
      </dsp:nvSpPr>
      <dsp:spPr>
        <a:xfrm>
          <a:off x="342434" y="4215927"/>
          <a:ext cx="8101915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Pot de l’amitié</a:t>
          </a:r>
        </a:p>
      </dsp:txBody>
      <dsp:txXfrm>
        <a:off x="342434" y="4215927"/>
        <a:ext cx="8101915" cy="443627"/>
      </dsp:txXfrm>
    </dsp:sp>
    <dsp:sp modelId="{AEDBD444-21DD-48F7-97E9-920D9B389BB1}">
      <dsp:nvSpPr>
        <dsp:cNvPr id="0" name=""/>
        <dsp:cNvSpPr/>
      </dsp:nvSpPr>
      <dsp:spPr>
        <a:xfrm>
          <a:off x="65167" y="416047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6272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42434" y="240561"/>
          <a:ext cx="8101915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Rapport moral du Président </a:t>
          </a:r>
        </a:p>
      </dsp:txBody>
      <dsp:txXfrm>
        <a:off x="342434" y="240561"/>
        <a:ext cx="8101915" cy="443627"/>
      </dsp:txXfrm>
    </dsp:sp>
    <dsp:sp modelId="{EBBCF617-4DDB-47D0-98C7-99413FA904B7}">
      <dsp:nvSpPr>
        <dsp:cNvPr id="0" name=""/>
        <dsp:cNvSpPr/>
      </dsp:nvSpPr>
      <dsp:spPr>
        <a:xfrm>
          <a:off x="65167" y="16645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E2EB7F9-D66B-4C17-9ADA-82D1A519631D}">
      <dsp:nvSpPr>
        <dsp:cNvPr id="0" name=""/>
        <dsp:cNvSpPr/>
      </dsp:nvSpPr>
      <dsp:spPr>
        <a:xfrm>
          <a:off x="744179" y="887743"/>
          <a:ext cx="7700170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Rapport financier de l’année 2018-2019</a:t>
          </a:r>
        </a:p>
      </dsp:txBody>
      <dsp:txXfrm>
        <a:off x="744179" y="887743"/>
        <a:ext cx="7700170" cy="443627"/>
      </dsp:txXfrm>
    </dsp:sp>
    <dsp:sp modelId="{154D625C-3544-476D-9B7D-B160FEFAA978}">
      <dsp:nvSpPr>
        <dsp:cNvPr id="0" name=""/>
        <dsp:cNvSpPr/>
      </dsp:nvSpPr>
      <dsp:spPr>
        <a:xfrm>
          <a:off x="466912" y="832290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69CEE8-0836-4345-83E6-80EA73D834CB}">
      <dsp:nvSpPr>
        <dsp:cNvPr id="0" name=""/>
        <dsp:cNvSpPr/>
      </dsp:nvSpPr>
      <dsp:spPr>
        <a:xfrm>
          <a:off x="964333" y="1553087"/>
          <a:ext cx="7480016" cy="44362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Élections au Conseil d’Administration </a:t>
          </a:r>
        </a:p>
      </dsp:txBody>
      <dsp:txXfrm>
        <a:off x="964333" y="1553087"/>
        <a:ext cx="7480016" cy="443627"/>
      </dsp:txXfrm>
    </dsp:sp>
    <dsp:sp modelId="{2B446D06-E9AD-4375-A51E-FB5B2A1C3E23}">
      <dsp:nvSpPr>
        <dsp:cNvPr id="0" name=""/>
        <dsp:cNvSpPr/>
      </dsp:nvSpPr>
      <dsp:spPr>
        <a:xfrm>
          <a:off x="687066" y="149763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5CD01E-7382-4075-9EDC-9B660C86D9C6}">
      <dsp:nvSpPr>
        <dsp:cNvPr id="0" name=""/>
        <dsp:cNvSpPr/>
      </dsp:nvSpPr>
      <dsp:spPr>
        <a:xfrm>
          <a:off x="1034626" y="2218919"/>
          <a:ext cx="7409723" cy="443627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Les rendez-vous 2019-2020</a:t>
          </a:r>
        </a:p>
      </dsp:txBody>
      <dsp:txXfrm>
        <a:off x="1034626" y="2218919"/>
        <a:ext cx="7409723" cy="443627"/>
      </dsp:txXfrm>
    </dsp:sp>
    <dsp:sp modelId="{233C9E3B-2890-4E96-BFE4-C0B455C462B1}">
      <dsp:nvSpPr>
        <dsp:cNvPr id="0" name=""/>
        <dsp:cNvSpPr/>
      </dsp:nvSpPr>
      <dsp:spPr>
        <a:xfrm>
          <a:off x="757359" y="2163466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8692DB-059F-4FCD-9FCC-F27667A08A01}">
      <dsp:nvSpPr>
        <dsp:cNvPr id="0" name=""/>
        <dsp:cNvSpPr/>
      </dsp:nvSpPr>
      <dsp:spPr>
        <a:xfrm>
          <a:off x="964333" y="2884751"/>
          <a:ext cx="7480016" cy="44362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Budget de l’année 2019-2020</a:t>
          </a:r>
        </a:p>
      </dsp:txBody>
      <dsp:txXfrm>
        <a:off x="964333" y="2884751"/>
        <a:ext cx="7480016" cy="443627"/>
      </dsp:txXfrm>
    </dsp:sp>
    <dsp:sp modelId="{C831524B-9812-4A93-ABD9-73730C123FDD}">
      <dsp:nvSpPr>
        <dsp:cNvPr id="0" name=""/>
        <dsp:cNvSpPr/>
      </dsp:nvSpPr>
      <dsp:spPr>
        <a:xfrm>
          <a:off x="687066" y="282929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22DB21-CA16-482C-9E91-63AF82A98035}">
      <dsp:nvSpPr>
        <dsp:cNvPr id="0" name=""/>
        <dsp:cNvSpPr/>
      </dsp:nvSpPr>
      <dsp:spPr>
        <a:xfrm>
          <a:off x="744179" y="3550095"/>
          <a:ext cx="7700170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Questions diverses</a:t>
          </a:r>
        </a:p>
      </dsp:txBody>
      <dsp:txXfrm>
        <a:off x="744179" y="3550095"/>
        <a:ext cx="7700170" cy="443627"/>
      </dsp:txXfrm>
    </dsp:sp>
    <dsp:sp modelId="{988A8B49-38D0-4B1C-A5A9-0ECE9A1F67E3}">
      <dsp:nvSpPr>
        <dsp:cNvPr id="0" name=""/>
        <dsp:cNvSpPr/>
      </dsp:nvSpPr>
      <dsp:spPr>
        <a:xfrm>
          <a:off x="466912" y="3494642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2E69EE-39FA-4239-BE1D-20B96DBE252A}">
      <dsp:nvSpPr>
        <dsp:cNvPr id="0" name=""/>
        <dsp:cNvSpPr/>
      </dsp:nvSpPr>
      <dsp:spPr>
        <a:xfrm>
          <a:off x="342434" y="4215927"/>
          <a:ext cx="8101915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Pot de l’amitié</a:t>
          </a:r>
        </a:p>
      </dsp:txBody>
      <dsp:txXfrm>
        <a:off x="342434" y="4215927"/>
        <a:ext cx="8101915" cy="443627"/>
      </dsp:txXfrm>
    </dsp:sp>
    <dsp:sp modelId="{3C4CE949-703D-44A1-B632-81B4622E495B}">
      <dsp:nvSpPr>
        <dsp:cNvPr id="0" name=""/>
        <dsp:cNvSpPr/>
      </dsp:nvSpPr>
      <dsp:spPr>
        <a:xfrm>
          <a:off x="65167" y="416047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6272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42434" y="240561"/>
          <a:ext cx="8101915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Rapport moral du Président </a:t>
          </a:r>
        </a:p>
      </dsp:txBody>
      <dsp:txXfrm>
        <a:off x="342434" y="240561"/>
        <a:ext cx="8101915" cy="443627"/>
      </dsp:txXfrm>
    </dsp:sp>
    <dsp:sp modelId="{EBBCF617-4DDB-47D0-98C7-99413FA904B7}">
      <dsp:nvSpPr>
        <dsp:cNvPr id="0" name=""/>
        <dsp:cNvSpPr/>
      </dsp:nvSpPr>
      <dsp:spPr>
        <a:xfrm>
          <a:off x="65167" y="16645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3E6E9D-CEE0-4253-A8E7-0BD98EFB662C}">
      <dsp:nvSpPr>
        <dsp:cNvPr id="0" name=""/>
        <dsp:cNvSpPr/>
      </dsp:nvSpPr>
      <dsp:spPr>
        <a:xfrm>
          <a:off x="744179" y="887743"/>
          <a:ext cx="7700170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Rapport financier de l’année 2017-2018</a:t>
          </a:r>
        </a:p>
      </dsp:txBody>
      <dsp:txXfrm>
        <a:off x="744179" y="887743"/>
        <a:ext cx="7700170" cy="443627"/>
      </dsp:txXfrm>
    </dsp:sp>
    <dsp:sp modelId="{7A113706-4115-4E46-A0DB-BB2E4C947383}">
      <dsp:nvSpPr>
        <dsp:cNvPr id="0" name=""/>
        <dsp:cNvSpPr/>
      </dsp:nvSpPr>
      <dsp:spPr>
        <a:xfrm>
          <a:off x="466912" y="832290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0934E8-FFC7-4C4F-89BE-AC8E748C473B}">
      <dsp:nvSpPr>
        <dsp:cNvPr id="0" name=""/>
        <dsp:cNvSpPr/>
      </dsp:nvSpPr>
      <dsp:spPr>
        <a:xfrm>
          <a:off x="964333" y="1553087"/>
          <a:ext cx="7480016" cy="44362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Élections au Conseil d’Administration </a:t>
          </a:r>
        </a:p>
      </dsp:txBody>
      <dsp:txXfrm>
        <a:off x="964333" y="1553087"/>
        <a:ext cx="7480016" cy="443627"/>
      </dsp:txXfrm>
    </dsp:sp>
    <dsp:sp modelId="{0692BF8D-B063-4580-8A2D-225A14481CCD}">
      <dsp:nvSpPr>
        <dsp:cNvPr id="0" name=""/>
        <dsp:cNvSpPr/>
      </dsp:nvSpPr>
      <dsp:spPr>
        <a:xfrm>
          <a:off x="687066" y="149763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30CA03-71CB-414D-840B-5B6A74283EA0}">
      <dsp:nvSpPr>
        <dsp:cNvPr id="0" name=""/>
        <dsp:cNvSpPr/>
      </dsp:nvSpPr>
      <dsp:spPr>
        <a:xfrm>
          <a:off x="1034626" y="2218919"/>
          <a:ext cx="7409723" cy="443627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Les rendez-vous 2018-2019</a:t>
          </a:r>
        </a:p>
      </dsp:txBody>
      <dsp:txXfrm>
        <a:off x="1034626" y="2218919"/>
        <a:ext cx="7409723" cy="443627"/>
      </dsp:txXfrm>
    </dsp:sp>
    <dsp:sp modelId="{D60F798E-526C-4126-9782-B35CCE9CE8B1}">
      <dsp:nvSpPr>
        <dsp:cNvPr id="0" name=""/>
        <dsp:cNvSpPr/>
      </dsp:nvSpPr>
      <dsp:spPr>
        <a:xfrm>
          <a:off x="757359" y="2163466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C1980-00DC-4CF7-95B2-732EEE3E3F6A}">
      <dsp:nvSpPr>
        <dsp:cNvPr id="0" name=""/>
        <dsp:cNvSpPr/>
      </dsp:nvSpPr>
      <dsp:spPr>
        <a:xfrm>
          <a:off x="964333" y="2884751"/>
          <a:ext cx="7480016" cy="44362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Budget de l’année 2018-2019</a:t>
          </a:r>
        </a:p>
      </dsp:txBody>
      <dsp:txXfrm>
        <a:off x="964333" y="2884751"/>
        <a:ext cx="7480016" cy="443627"/>
      </dsp:txXfrm>
    </dsp:sp>
    <dsp:sp modelId="{1CAC461D-769E-43F1-85D8-A86E37EE9368}">
      <dsp:nvSpPr>
        <dsp:cNvPr id="0" name=""/>
        <dsp:cNvSpPr/>
      </dsp:nvSpPr>
      <dsp:spPr>
        <a:xfrm>
          <a:off x="687066" y="282929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DEF82D-19AE-4AD6-85C9-882AA6979A47}">
      <dsp:nvSpPr>
        <dsp:cNvPr id="0" name=""/>
        <dsp:cNvSpPr/>
      </dsp:nvSpPr>
      <dsp:spPr>
        <a:xfrm>
          <a:off x="744179" y="3550095"/>
          <a:ext cx="7700170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Présentation du 1</a:t>
          </a:r>
          <a:r>
            <a:rPr lang="fr-FR" sz="2100" kern="1200" baseline="30000" dirty="0"/>
            <a:t>er</a:t>
          </a:r>
          <a:r>
            <a:rPr lang="fr-FR" sz="2100" kern="1200" dirty="0"/>
            <a:t> bilan du Partenariat avec « LA RESIDENCE »</a:t>
          </a:r>
        </a:p>
      </dsp:txBody>
      <dsp:txXfrm>
        <a:off x="744179" y="3550095"/>
        <a:ext cx="7700170" cy="443627"/>
      </dsp:txXfrm>
    </dsp:sp>
    <dsp:sp modelId="{5B1F49EF-F46F-4EB0-87B2-B210B7586130}">
      <dsp:nvSpPr>
        <dsp:cNvPr id="0" name=""/>
        <dsp:cNvSpPr/>
      </dsp:nvSpPr>
      <dsp:spPr>
        <a:xfrm>
          <a:off x="466912" y="3494642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5F14BC-780E-439D-8CCE-B939CA6246CF}">
      <dsp:nvSpPr>
        <dsp:cNvPr id="0" name=""/>
        <dsp:cNvSpPr/>
      </dsp:nvSpPr>
      <dsp:spPr>
        <a:xfrm>
          <a:off x="342434" y="4215927"/>
          <a:ext cx="8101915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dirty="0"/>
            <a:t>Intervention du Maire Adjoint  aux Sports et aux Bâtiments Municipaux</a:t>
          </a:r>
        </a:p>
      </dsp:txBody>
      <dsp:txXfrm>
        <a:off x="342434" y="4215927"/>
        <a:ext cx="8101915" cy="443627"/>
      </dsp:txXfrm>
    </dsp:sp>
    <dsp:sp modelId="{5AF5E7EE-A04D-40FC-8300-CF20EEE80831}">
      <dsp:nvSpPr>
        <dsp:cNvPr id="0" name=""/>
        <dsp:cNvSpPr/>
      </dsp:nvSpPr>
      <dsp:spPr>
        <a:xfrm>
          <a:off x="65167" y="416047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6272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42434" y="240561"/>
          <a:ext cx="8101915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Rapport moral du Président </a:t>
          </a:r>
        </a:p>
      </dsp:txBody>
      <dsp:txXfrm>
        <a:off x="342434" y="240561"/>
        <a:ext cx="8101915" cy="443627"/>
      </dsp:txXfrm>
    </dsp:sp>
    <dsp:sp modelId="{EBBCF617-4DDB-47D0-98C7-99413FA904B7}">
      <dsp:nvSpPr>
        <dsp:cNvPr id="0" name=""/>
        <dsp:cNvSpPr/>
      </dsp:nvSpPr>
      <dsp:spPr>
        <a:xfrm>
          <a:off x="65167" y="16645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14D2C7-336E-4299-AE25-25164E82EE2D}">
      <dsp:nvSpPr>
        <dsp:cNvPr id="0" name=""/>
        <dsp:cNvSpPr/>
      </dsp:nvSpPr>
      <dsp:spPr>
        <a:xfrm>
          <a:off x="744179" y="887743"/>
          <a:ext cx="7700170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Rapport financier de l’année 2018-2019</a:t>
          </a:r>
        </a:p>
      </dsp:txBody>
      <dsp:txXfrm>
        <a:off x="744179" y="887743"/>
        <a:ext cx="7700170" cy="443627"/>
      </dsp:txXfrm>
    </dsp:sp>
    <dsp:sp modelId="{838C1B33-DD0E-4CBE-947F-342F06D30CE5}">
      <dsp:nvSpPr>
        <dsp:cNvPr id="0" name=""/>
        <dsp:cNvSpPr/>
      </dsp:nvSpPr>
      <dsp:spPr>
        <a:xfrm>
          <a:off x="466912" y="832290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A0F0E10-5726-4767-844F-C84D447FA39C}">
      <dsp:nvSpPr>
        <dsp:cNvPr id="0" name=""/>
        <dsp:cNvSpPr/>
      </dsp:nvSpPr>
      <dsp:spPr>
        <a:xfrm>
          <a:off x="964333" y="1553087"/>
          <a:ext cx="7480016" cy="44362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Élections au Conseil d’Administration </a:t>
          </a:r>
        </a:p>
      </dsp:txBody>
      <dsp:txXfrm>
        <a:off x="964333" y="1553087"/>
        <a:ext cx="7480016" cy="443627"/>
      </dsp:txXfrm>
    </dsp:sp>
    <dsp:sp modelId="{B3ADA0D2-BF2C-4B7F-BD8A-C09A230B5170}">
      <dsp:nvSpPr>
        <dsp:cNvPr id="0" name=""/>
        <dsp:cNvSpPr/>
      </dsp:nvSpPr>
      <dsp:spPr>
        <a:xfrm>
          <a:off x="687066" y="149763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3E4732-3C45-4B06-B3ED-5B68324267BF}">
      <dsp:nvSpPr>
        <dsp:cNvPr id="0" name=""/>
        <dsp:cNvSpPr/>
      </dsp:nvSpPr>
      <dsp:spPr>
        <a:xfrm>
          <a:off x="1034626" y="2218919"/>
          <a:ext cx="7409723" cy="443627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Les rendez-vous 2019-2020</a:t>
          </a:r>
        </a:p>
      </dsp:txBody>
      <dsp:txXfrm>
        <a:off x="1034626" y="2218919"/>
        <a:ext cx="7409723" cy="443627"/>
      </dsp:txXfrm>
    </dsp:sp>
    <dsp:sp modelId="{15F431B3-2E60-44A3-8D27-949571BAC0F8}">
      <dsp:nvSpPr>
        <dsp:cNvPr id="0" name=""/>
        <dsp:cNvSpPr/>
      </dsp:nvSpPr>
      <dsp:spPr>
        <a:xfrm>
          <a:off x="757359" y="2163466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4D3E7C-92E9-490C-B577-92A73403BF31}">
      <dsp:nvSpPr>
        <dsp:cNvPr id="0" name=""/>
        <dsp:cNvSpPr/>
      </dsp:nvSpPr>
      <dsp:spPr>
        <a:xfrm>
          <a:off x="964333" y="2884751"/>
          <a:ext cx="7480016" cy="44362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Budget de l’année 2019-2020</a:t>
          </a:r>
        </a:p>
      </dsp:txBody>
      <dsp:txXfrm>
        <a:off x="964333" y="2884751"/>
        <a:ext cx="7480016" cy="443627"/>
      </dsp:txXfrm>
    </dsp:sp>
    <dsp:sp modelId="{73790646-36F1-4832-8BF2-6BF111A6C861}">
      <dsp:nvSpPr>
        <dsp:cNvPr id="0" name=""/>
        <dsp:cNvSpPr/>
      </dsp:nvSpPr>
      <dsp:spPr>
        <a:xfrm>
          <a:off x="687066" y="282929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6E0D405-80B5-41C9-BA40-241ED6F7BEF7}">
      <dsp:nvSpPr>
        <dsp:cNvPr id="0" name=""/>
        <dsp:cNvSpPr/>
      </dsp:nvSpPr>
      <dsp:spPr>
        <a:xfrm>
          <a:off x="744179" y="3550095"/>
          <a:ext cx="7700170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Questions diverses</a:t>
          </a:r>
        </a:p>
      </dsp:txBody>
      <dsp:txXfrm>
        <a:off x="744179" y="3550095"/>
        <a:ext cx="7700170" cy="443627"/>
      </dsp:txXfrm>
    </dsp:sp>
    <dsp:sp modelId="{DC7255E1-6218-429A-B98F-94BCAC7D47CB}">
      <dsp:nvSpPr>
        <dsp:cNvPr id="0" name=""/>
        <dsp:cNvSpPr/>
      </dsp:nvSpPr>
      <dsp:spPr>
        <a:xfrm>
          <a:off x="466912" y="3494642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1484DA-F60D-465E-876E-DBD58AE21DB5}">
      <dsp:nvSpPr>
        <dsp:cNvPr id="0" name=""/>
        <dsp:cNvSpPr/>
      </dsp:nvSpPr>
      <dsp:spPr>
        <a:xfrm>
          <a:off x="342434" y="4215927"/>
          <a:ext cx="8101915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Pot de l’amitié</a:t>
          </a:r>
        </a:p>
      </dsp:txBody>
      <dsp:txXfrm>
        <a:off x="342434" y="4215927"/>
        <a:ext cx="8101915" cy="443627"/>
      </dsp:txXfrm>
    </dsp:sp>
    <dsp:sp modelId="{91950BAA-3AA9-4C1C-9CD3-873C2CBA66D7}">
      <dsp:nvSpPr>
        <dsp:cNvPr id="0" name=""/>
        <dsp:cNvSpPr/>
      </dsp:nvSpPr>
      <dsp:spPr>
        <a:xfrm>
          <a:off x="65167" y="416047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44DDD9-B6F8-4655-8D8B-43C9D6CB8B31}">
      <dsp:nvSpPr>
        <dsp:cNvPr id="0" name=""/>
        <dsp:cNvSpPr/>
      </dsp:nvSpPr>
      <dsp:spPr>
        <a:xfrm>
          <a:off x="2926015" y="3254"/>
          <a:ext cx="1241759" cy="80714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Elus d’HERBLAY</a:t>
          </a:r>
        </a:p>
      </dsp:txBody>
      <dsp:txXfrm>
        <a:off x="2965416" y="42655"/>
        <a:ext cx="1162957" cy="728341"/>
      </dsp:txXfrm>
    </dsp:sp>
    <dsp:sp modelId="{6AC8799C-ECCB-4A46-BF36-CC5BC71CC2D7}">
      <dsp:nvSpPr>
        <dsp:cNvPr id="0" name=""/>
        <dsp:cNvSpPr/>
      </dsp:nvSpPr>
      <dsp:spPr>
        <a:xfrm>
          <a:off x="1242844" y="406826"/>
          <a:ext cx="4608100" cy="4608100"/>
        </a:xfrm>
        <a:custGeom>
          <a:avLst/>
          <a:gdLst/>
          <a:ahLst/>
          <a:cxnLst/>
          <a:rect l="0" t="0" r="0" b="0"/>
          <a:pathLst>
            <a:path>
              <a:moveTo>
                <a:pt x="2933151" y="87548"/>
              </a:moveTo>
              <a:arcTo wR="2304050" hR="2304050" stAng="17150721" swAng="125646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5D2AD9-4686-49B8-B72A-27931EEEC98A}">
      <dsp:nvSpPr>
        <dsp:cNvPr id="0" name=""/>
        <dsp:cNvSpPr/>
      </dsp:nvSpPr>
      <dsp:spPr>
        <a:xfrm>
          <a:off x="4727394" y="870753"/>
          <a:ext cx="1241759" cy="807143"/>
        </a:xfrm>
        <a:prstGeom prst="roundRect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Services de la Ville</a:t>
          </a:r>
        </a:p>
      </dsp:txBody>
      <dsp:txXfrm>
        <a:off x="4766795" y="910154"/>
        <a:ext cx="1162957" cy="728341"/>
      </dsp:txXfrm>
    </dsp:sp>
    <dsp:sp modelId="{51A1BF9F-D5BC-4532-A20E-C97178709D63}">
      <dsp:nvSpPr>
        <dsp:cNvPr id="0" name=""/>
        <dsp:cNvSpPr/>
      </dsp:nvSpPr>
      <dsp:spPr>
        <a:xfrm>
          <a:off x="1248588" y="418199"/>
          <a:ext cx="4608100" cy="4608100"/>
        </a:xfrm>
        <a:custGeom>
          <a:avLst/>
          <a:gdLst/>
          <a:ahLst/>
          <a:cxnLst/>
          <a:rect l="0" t="0" r="0" b="0"/>
          <a:pathLst>
            <a:path>
              <a:moveTo>
                <a:pt x="4363213" y="1270370"/>
              </a:moveTo>
              <a:arcTo wR="2304050" hR="2304050" stAng="20000628" swAng="176921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2620E6-571C-4256-A0DD-CC7C9B162EE7}">
      <dsp:nvSpPr>
        <dsp:cNvPr id="0" name=""/>
        <dsp:cNvSpPr/>
      </dsp:nvSpPr>
      <dsp:spPr>
        <a:xfrm>
          <a:off x="5172295" y="2847975"/>
          <a:ext cx="1241759" cy="807143"/>
        </a:xfrm>
        <a:prstGeom prst="round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Adhérents</a:t>
          </a:r>
        </a:p>
      </dsp:txBody>
      <dsp:txXfrm>
        <a:off x="5211696" y="2887376"/>
        <a:ext cx="1162957" cy="728341"/>
      </dsp:txXfrm>
    </dsp:sp>
    <dsp:sp modelId="{324CD12F-8702-4DB9-8B3A-D36E9C436545}">
      <dsp:nvSpPr>
        <dsp:cNvPr id="0" name=""/>
        <dsp:cNvSpPr/>
      </dsp:nvSpPr>
      <dsp:spPr>
        <a:xfrm>
          <a:off x="1255026" y="395364"/>
          <a:ext cx="4608100" cy="4608100"/>
        </a:xfrm>
        <a:custGeom>
          <a:avLst/>
          <a:gdLst/>
          <a:ahLst/>
          <a:cxnLst/>
          <a:rect l="0" t="0" r="0" b="0"/>
          <a:pathLst>
            <a:path>
              <a:moveTo>
                <a:pt x="4396805" y="3267908"/>
              </a:moveTo>
              <a:arcTo wR="2304050" hR="2304050" stAng="1483759" swAng="1319999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27FD45-330A-4CCC-BE37-47EB0B9CA3C6}">
      <dsp:nvSpPr>
        <dsp:cNvPr id="0" name=""/>
        <dsp:cNvSpPr/>
      </dsp:nvSpPr>
      <dsp:spPr>
        <a:xfrm>
          <a:off x="3925705" y="4383182"/>
          <a:ext cx="1241759" cy="807143"/>
        </a:xfrm>
        <a:prstGeom prst="roundRect">
          <a:avLst/>
        </a:prstGeom>
        <a:solidFill>
          <a:schemeClr val="accent5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Parents</a:t>
          </a:r>
        </a:p>
      </dsp:txBody>
      <dsp:txXfrm>
        <a:off x="3965106" y="4422583"/>
        <a:ext cx="1162957" cy="728341"/>
      </dsp:txXfrm>
    </dsp:sp>
    <dsp:sp modelId="{B4F13D4D-1EA3-4EC5-9AFC-5CC99767EFE6}">
      <dsp:nvSpPr>
        <dsp:cNvPr id="0" name=""/>
        <dsp:cNvSpPr/>
      </dsp:nvSpPr>
      <dsp:spPr>
        <a:xfrm>
          <a:off x="1242844" y="406826"/>
          <a:ext cx="4608100" cy="4608100"/>
        </a:xfrm>
        <a:custGeom>
          <a:avLst/>
          <a:gdLst/>
          <a:ahLst/>
          <a:cxnLst/>
          <a:rect l="0" t="0" r="0" b="0"/>
          <a:pathLst>
            <a:path>
              <a:moveTo>
                <a:pt x="2675385" y="4577980"/>
              </a:moveTo>
              <a:arcTo wR="2304050" hR="2304050" stAng="4843524" swAng="111295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0F3756C-447B-44FC-A73B-DF4F06606C29}">
      <dsp:nvSpPr>
        <dsp:cNvPr id="0" name=""/>
        <dsp:cNvSpPr/>
      </dsp:nvSpPr>
      <dsp:spPr>
        <a:xfrm>
          <a:off x="1926325" y="4383182"/>
          <a:ext cx="1241759" cy="807143"/>
        </a:xfrm>
        <a:prstGeom prst="roundRect">
          <a:avLst/>
        </a:prstGeom>
        <a:solidFill>
          <a:srgbClr val="FA7D7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Administrateurs</a:t>
          </a:r>
        </a:p>
      </dsp:txBody>
      <dsp:txXfrm>
        <a:off x="1965726" y="4422583"/>
        <a:ext cx="1162957" cy="728341"/>
      </dsp:txXfrm>
    </dsp:sp>
    <dsp:sp modelId="{98311ED8-5FE3-4118-B5BA-55D1B809ACD1}">
      <dsp:nvSpPr>
        <dsp:cNvPr id="0" name=""/>
        <dsp:cNvSpPr/>
      </dsp:nvSpPr>
      <dsp:spPr>
        <a:xfrm>
          <a:off x="1242844" y="406826"/>
          <a:ext cx="4608100" cy="4608100"/>
        </a:xfrm>
        <a:custGeom>
          <a:avLst/>
          <a:gdLst/>
          <a:ahLst/>
          <a:cxnLst/>
          <a:rect l="0" t="0" r="0" b="0"/>
          <a:pathLst>
            <a:path>
              <a:moveTo>
                <a:pt x="712423" y="3969994"/>
              </a:moveTo>
              <a:arcTo wR="2304050" hR="2304050" stAng="8021586" swAng="135865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AF265E-4870-4BF1-B3C9-FE4520B01D93}">
      <dsp:nvSpPr>
        <dsp:cNvPr id="0" name=""/>
        <dsp:cNvSpPr/>
      </dsp:nvSpPr>
      <dsp:spPr>
        <a:xfrm>
          <a:off x="679732" y="2820004"/>
          <a:ext cx="1241759" cy="807143"/>
        </a:xfrm>
        <a:prstGeom prst="roundRect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Entraineurs</a:t>
          </a:r>
        </a:p>
      </dsp:txBody>
      <dsp:txXfrm>
        <a:off x="719133" y="2859405"/>
        <a:ext cx="1162957" cy="728341"/>
      </dsp:txXfrm>
    </dsp:sp>
    <dsp:sp modelId="{CEE12626-E5FE-44D1-A6FA-1003EBC65203}">
      <dsp:nvSpPr>
        <dsp:cNvPr id="0" name=""/>
        <dsp:cNvSpPr/>
      </dsp:nvSpPr>
      <dsp:spPr>
        <a:xfrm>
          <a:off x="1242844" y="406826"/>
          <a:ext cx="4608100" cy="4608100"/>
        </a:xfrm>
        <a:custGeom>
          <a:avLst/>
          <a:gdLst/>
          <a:ahLst/>
          <a:cxnLst/>
          <a:rect l="0" t="0" r="0" b="0"/>
          <a:pathLst>
            <a:path>
              <a:moveTo>
                <a:pt x="2062" y="2401514"/>
              </a:moveTo>
              <a:arcTo wR="2304050" hR="2304050" stAng="10654535" swAng="1726250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AD33B8F-34D6-478E-85D8-E777D4857678}">
      <dsp:nvSpPr>
        <dsp:cNvPr id="0" name=""/>
        <dsp:cNvSpPr/>
      </dsp:nvSpPr>
      <dsp:spPr>
        <a:xfrm>
          <a:off x="1124636" y="870753"/>
          <a:ext cx="1241759" cy="807143"/>
        </a:xfrm>
        <a:prstGeom prst="round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solidFill>
                <a:schemeClr val="tx1"/>
              </a:solidFill>
            </a:rPr>
            <a:t>Les Partenaires</a:t>
          </a:r>
        </a:p>
      </dsp:txBody>
      <dsp:txXfrm>
        <a:off x="1164037" y="910154"/>
        <a:ext cx="1162957" cy="728341"/>
      </dsp:txXfrm>
    </dsp:sp>
    <dsp:sp modelId="{BE085A40-9F98-49A9-AE45-5C95D0B5B263}">
      <dsp:nvSpPr>
        <dsp:cNvPr id="0" name=""/>
        <dsp:cNvSpPr/>
      </dsp:nvSpPr>
      <dsp:spPr>
        <a:xfrm>
          <a:off x="1242844" y="406826"/>
          <a:ext cx="4608100" cy="4608100"/>
        </a:xfrm>
        <a:custGeom>
          <a:avLst/>
          <a:gdLst/>
          <a:ahLst/>
          <a:cxnLst/>
          <a:rect l="0" t="0" r="0" b="0"/>
          <a:pathLst>
            <a:path>
              <a:moveTo>
                <a:pt x="924306" y="458798"/>
              </a:moveTo>
              <a:arcTo wR="2304050" hR="2304050" stAng="13992813" swAng="125646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40BDDF-1FEF-41BF-B9E9-0FFE3926A970}">
      <dsp:nvSpPr>
        <dsp:cNvPr id="0" name=""/>
        <dsp:cNvSpPr/>
      </dsp:nvSpPr>
      <dsp:spPr>
        <a:xfrm>
          <a:off x="-5516272" y="-845012"/>
          <a:ext cx="6571491" cy="6571491"/>
        </a:xfrm>
        <a:prstGeom prst="blockArc">
          <a:avLst>
            <a:gd name="adj1" fmla="val 18900000"/>
            <a:gd name="adj2" fmla="val 2700000"/>
            <a:gd name="adj3" fmla="val 329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74578-773C-4297-A4DE-1398F67BB91C}">
      <dsp:nvSpPr>
        <dsp:cNvPr id="0" name=""/>
        <dsp:cNvSpPr/>
      </dsp:nvSpPr>
      <dsp:spPr>
        <a:xfrm>
          <a:off x="342434" y="240561"/>
          <a:ext cx="8101915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Rapport moral du Président </a:t>
          </a:r>
        </a:p>
      </dsp:txBody>
      <dsp:txXfrm>
        <a:off x="342434" y="240561"/>
        <a:ext cx="8101915" cy="443627"/>
      </dsp:txXfrm>
    </dsp:sp>
    <dsp:sp modelId="{EBBCF617-4DDB-47D0-98C7-99413FA904B7}">
      <dsp:nvSpPr>
        <dsp:cNvPr id="0" name=""/>
        <dsp:cNvSpPr/>
      </dsp:nvSpPr>
      <dsp:spPr>
        <a:xfrm>
          <a:off x="65167" y="16645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14D2C7-336E-4299-AE25-25164E82EE2D}">
      <dsp:nvSpPr>
        <dsp:cNvPr id="0" name=""/>
        <dsp:cNvSpPr/>
      </dsp:nvSpPr>
      <dsp:spPr>
        <a:xfrm>
          <a:off x="744179" y="887743"/>
          <a:ext cx="7700170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Rapport financier de l’année 2018-2019</a:t>
          </a:r>
        </a:p>
      </dsp:txBody>
      <dsp:txXfrm>
        <a:off x="744179" y="887743"/>
        <a:ext cx="7700170" cy="443627"/>
      </dsp:txXfrm>
    </dsp:sp>
    <dsp:sp modelId="{838C1B33-DD0E-4CBE-947F-342F06D30CE5}">
      <dsp:nvSpPr>
        <dsp:cNvPr id="0" name=""/>
        <dsp:cNvSpPr/>
      </dsp:nvSpPr>
      <dsp:spPr>
        <a:xfrm>
          <a:off x="466912" y="832290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A0F0E10-5726-4767-844F-C84D447FA39C}">
      <dsp:nvSpPr>
        <dsp:cNvPr id="0" name=""/>
        <dsp:cNvSpPr/>
      </dsp:nvSpPr>
      <dsp:spPr>
        <a:xfrm>
          <a:off x="964333" y="1553087"/>
          <a:ext cx="7480016" cy="44362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Élections au Conseil d’Administration </a:t>
          </a:r>
        </a:p>
      </dsp:txBody>
      <dsp:txXfrm>
        <a:off x="964333" y="1553087"/>
        <a:ext cx="7480016" cy="443627"/>
      </dsp:txXfrm>
    </dsp:sp>
    <dsp:sp modelId="{B3ADA0D2-BF2C-4B7F-BD8A-C09A230B5170}">
      <dsp:nvSpPr>
        <dsp:cNvPr id="0" name=""/>
        <dsp:cNvSpPr/>
      </dsp:nvSpPr>
      <dsp:spPr>
        <a:xfrm>
          <a:off x="687066" y="149763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3E4732-3C45-4B06-B3ED-5B68324267BF}">
      <dsp:nvSpPr>
        <dsp:cNvPr id="0" name=""/>
        <dsp:cNvSpPr/>
      </dsp:nvSpPr>
      <dsp:spPr>
        <a:xfrm>
          <a:off x="1034626" y="2218919"/>
          <a:ext cx="7409723" cy="443627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Les rendez-vous 2019-2020</a:t>
          </a:r>
        </a:p>
      </dsp:txBody>
      <dsp:txXfrm>
        <a:off x="1034626" y="2218919"/>
        <a:ext cx="7409723" cy="443627"/>
      </dsp:txXfrm>
    </dsp:sp>
    <dsp:sp modelId="{15F431B3-2E60-44A3-8D27-949571BAC0F8}">
      <dsp:nvSpPr>
        <dsp:cNvPr id="0" name=""/>
        <dsp:cNvSpPr/>
      </dsp:nvSpPr>
      <dsp:spPr>
        <a:xfrm>
          <a:off x="757359" y="2163466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4D3E7C-92E9-490C-B577-92A73403BF31}">
      <dsp:nvSpPr>
        <dsp:cNvPr id="0" name=""/>
        <dsp:cNvSpPr/>
      </dsp:nvSpPr>
      <dsp:spPr>
        <a:xfrm>
          <a:off x="964333" y="2884751"/>
          <a:ext cx="7480016" cy="44362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Budget de l’année 2019-2020</a:t>
          </a:r>
        </a:p>
      </dsp:txBody>
      <dsp:txXfrm>
        <a:off x="964333" y="2884751"/>
        <a:ext cx="7480016" cy="443627"/>
      </dsp:txXfrm>
    </dsp:sp>
    <dsp:sp modelId="{73790646-36F1-4832-8BF2-6BF111A6C861}">
      <dsp:nvSpPr>
        <dsp:cNvPr id="0" name=""/>
        <dsp:cNvSpPr/>
      </dsp:nvSpPr>
      <dsp:spPr>
        <a:xfrm>
          <a:off x="687066" y="2829298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6E0D405-80B5-41C9-BA40-241ED6F7BEF7}">
      <dsp:nvSpPr>
        <dsp:cNvPr id="0" name=""/>
        <dsp:cNvSpPr/>
      </dsp:nvSpPr>
      <dsp:spPr>
        <a:xfrm>
          <a:off x="744179" y="3550095"/>
          <a:ext cx="7700170" cy="44362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Questions diverses</a:t>
          </a:r>
        </a:p>
      </dsp:txBody>
      <dsp:txXfrm>
        <a:off x="744179" y="3550095"/>
        <a:ext cx="7700170" cy="443627"/>
      </dsp:txXfrm>
    </dsp:sp>
    <dsp:sp modelId="{DC7255E1-6218-429A-B98F-94BCAC7D47CB}">
      <dsp:nvSpPr>
        <dsp:cNvPr id="0" name=""/>
        <dsp:cNvSpPr/>
      </dsp:nvSpPr>
      <dsp:spPr>
        <a:xfrm>
          <a:off x="466912" y="3494642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1484DA-F60D-465E-876E-DBD58AE21DB5}">
      <dsp:nvSpPr>
        <dsp:cNvPr id="0" name=""/>
        <dsp:cNvSpPr/>
      </dsp:nvSpPr>
      <dsp:spPr>
        <a:xfrm>
          <a:off x="342434" y="4215927"/>
          <a:ext cx="8101915" cy="44362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2130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Pot de l’amitié</a:t>
          </a:r>
        </a:p>
      </dsp:txBody>
      <dsp:txXfrm>
        <a:off x="342434" y="4215927"/>
        <a:ext cx="8101915" cy="443627"/>
      </dsp:txXfrm>
    </dsp:sp>
    <dsp:sp modelId="{91950BAA-3AA9-4C1C-9CD3-873C2CBA66D7}">
      <dsp:nvSpPr>
        <dsp:cNvPr id="0" name=""/>
        <dsp:cNvSpPr/>
      </dsp:nvSpPr>
      <dsp:spPr>
        <a:xfrm>
          <a:off x="65167" y="4160474"/>
          <a:ext cx="554534" cy="5545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76BA053A-33DE-1A41-8644-094BC57997AE}" type="datetime1">
              <a:rPr lang="fr-FR"/>
              <a:pPr/>
              <a:t>16/11/2019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D57BE7FE-E4A3-0A4D-9492-11C4CDC0319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23419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35A36969-D6F7-F94C-8D5E-FCC412260ED5}" type="datetime1">
              <a:rPr lang="fr-FR"/>
              <a:pPr/>
              <a:t>16/11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35A53EB7-FBAD-6F4B-9076-286EBF24A43D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58166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déb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37288"/>
            <a:ext cx="9144000" cy="6207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/>
          </a:p>
        </p:txBody>
      </p:sp>
      <p:pic>
        <p:nvPicPr>
          <p:cNvPr id="6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8325" y="0"/>
            <a:ext cx="2879725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55576" y="1628800"/>
            <a:ext cx="7772400" cy="10001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28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127176" y="2780928"/>
            <a:ext cx="6400800" cy="10715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None/>
              <a:defRPr sz="280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  <a:endParaRPr lang="fr-FR" dirty="0"/>
          </a:p>
        </p:txBody>
      </p:sp>
      <p:sp>
        <p:nvSpPr>
          <p:cNvPr id="7" name="Espace réservé de la date 7"/>
          <p:cNvSpPr>
            <a:spLocks noGrp="1"/>
          </p:cNvSpPr>
          <p:nvPr>
            <p:ph type="dt" sz="half" idx="10"/>
          </p:nvPr>
        </p:nvSpPr>
        <p:spPr>
          <a:xfrm>
            <a:off x="457200" y="6021388"/>
            <a:ext cx="2133600" cy="365125"/>
          </a:xfrm>
        </p:spPr>
        <p:txBody>
          <a:bodyPr/>
          <a:lstStyle>
            <a:lvl1pPr>
              <a:defRPr sz="1800">
                <a:solidFill>
                  <a:srgbClr val="F18B2E"/>
                </a:solidFill>
                <a:cs typeface="Arial" charset="0"/>
              </a:defRPr>
            </a:lvl1pPr>
          </a:lstStyle>
          <a:p>
            <a:fld id="{3B3F0EE5-B9A6-4707-9876-B80B38EB6C3A}" type="datetime1">
              <a:rPr lang="fr-FR" smtClean="0"/>
              <a:pPr/>
              <a:t>16/11/20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83326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7264400" y="307975"/>
            <a:ext cx="288925" cy="600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7705725" y="307975"/>
            <a:ext cx="288925" cy="600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8CD7A03-5B65-994C-83CB-9A48F4F7C8EC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8270C17-A942-428D-A484-6D4963496A06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2308994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A756376-2475-D747-ACF9-EA860B353B8D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6E19EB8C-A8F2-49EC-A8D6-171D4060586F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3058217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41BD3B8-1126-FE4F-BE67-0BA2363E9365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3EC7B6EE-D6B4-4A8F-A1A8-F15DCB028669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6336896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B72494-7E8D-764A-A7F3-2C623CB559DF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D49CE20E-3BA7-4D5E-B8EB-1B6BDFB6F6B9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192425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805A5F7-49BB-DE43-94AA-E6246ECB3A40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31EBA55B-4AD3-4EB4-A062-8D7E33EB5E45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8897777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DC01B0D-47AD-C94F-AF57-90F3E31F95B9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E027B083-E429-456A-8291-90538FEB539E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40010295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07C5AB0-3378-9D46-9B4B-128089A4BD7D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F91642AF-71A7-4F53-99D7-0D4273FC5534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0841837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8450" y="307975"/>
            <a:ext cx="1843088" cy="4849813"/>
          </a:xfrm>
        </p:spPr>
        <p:txBody>
          <a:bodyPr vert="eaVert"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116013" y="307975"/>
            <a:ext cx="5380037" cy="4849813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24A30A7-88FD-E242-8EA5-929F059010C6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6E883A85-CC94-485C-B6A3-125F21404FAF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3018721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95536" y="1714488"/>
            <a:ext cx="8424936" cy="3802744"/>
          </a:xfrm>
          <a:prstGeom prst="rect">
            <a:avLst/>
          </a:prstGeom>
        </p:spPr>
        <p:txBody>
          <a:bodyPr/>
          <a:lstStyle>
            <a:lvl1pPr marL="0" indent="-414000">
              <a:spcBef>
                <a:spcPts val="600"/>
              </a:spcBef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 marL="432000" indent="-180000">
              <a:buClr>
                <a:srgbClr val="463436"/>
              </a:buClr>
              <a:buSzPct val="100000"/>
              <a:buFont typeface="Lucida Grande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2pPr>
            <a:lvl3pPr marL="604800" indent="-180000">
              <a:buFont typeface="Arial" pitchFamily="34" charset="0"/>
              <a:buChar char="•"/>
              <a:defRPr sz="14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3pPr>
            <a:lvl4pPr marL="900000" indent="-180000">
              <a:defRPr sz="12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5pPr>
            <a:lvl6pPr>
              <a:buFont typeface="Courier New" pitchFamily="49" charset="0"/>
              <a:buChar char="o"/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6pPr>
            <a:lvl7pPr>
              <a:buFont typeface="Wingdings" pitchFamily="2" charset="2"/>
              <a:buChar char="ü"/>
              <a:defRPr sz="100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7pPr>
            <a:lvl8pPr>
              <a:buFont typeface="Wingdings" pitchFamily="2" charset="2"/>
              <a:buChar char="§"/>
              <a:defRPr sz="10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8pPr>
            <a:lvl9pPr>
              <a:buFont typeface="Arial" pitchFamily="34" charset="0"/>
              <a:buChar char="−"/>
              <a:defRPr sz="10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800972" cy="78579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1F3963A-43DD-EB43-A4D9-AE3239085684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248CAAC4-81C2-42EB-B84E-D8968D8DDECD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6946970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tit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549275"/>
            <a:ext cx="1649413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0"/>
            <a:ext cx="1649413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ous-titre 2"/>
          <p:cNvSpPr>
            <a:spLocks noGrp="1"/>
          </p:cNvSpPr>
          <p:nvPr>
            <p:ph type="subTitle" idx="1"/>
          </p:nvPr>
        </p:nvSpPr>
        <p:spPr>
          <a:xfrm>
            <a:off x="2090882" y="3429000"/>
            <a:ext cx="6400800" cy="107157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r">
              <a:buNone/>
              <a:defRPr sz="2800" b="1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  <a:endParaRPr lang="fr-FR" dirty="0"/>
          </a:p>
        </p:txBody>
      </p: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719282" y="1923868"/>
            <a:ext cx="7772400" cy="1470025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algn="r">
              <a:defRPr sz="3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97A4251-82A4-1144-8CA4-466AE71FDCFB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6F5B08B1-E130-4785-968A-0E97F090C81C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5861027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1474" y="1600201"/>
            <a:ext cx="8443914" cy="328602"/>
          </a:xfrm>
          <a:prstGeom prst="rect">
            <a:avLst/>
          </a:prstGeom>
        </p:spPr>
        <p:txBody>
          <a:bodyPr/>
          <a:lstStyle>
            <a:lvl1pPr marL="0" indent="-432000"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buFontTx/>
              <a:buNone/>
              <a:defRPr sz="1600" b="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2pPr>
            <a:lvl3pPr>
              <a:buFont typeface="Arial" pitchFamily="34" charset="0"/>
              <a:buChar char="•"/>
              <a:defRPr sz="14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3pPr>
            <a:lvl4pPr>
              <a:buFont typeface="Wingdings" pitchFamily="2" charset="2"/>
              <a:buChar char="ü"/>
              <a:defRPr sz="12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>
          <a:xfrm>
            <a:off x="833307" y="2003310"/>
            <a:ext cx="8241567" cy="354120"/>
          </a:xfrm>
          <a:prstGeom prst="rect">
            <a:avLst/>
          </a:prstGeom>
        </p:spPr>
        <p:txBody>
          <a:bodyPr/>
          <a:lstStyle>
            <a:lvl1pPr marL="180975" indent="-163513">
              <a:buClr>
                <a:srgbClr val="463436"/>
              </a:buClr>
              <a:buFont typeface="Wingdings" charset="2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 b="1">
                <a:solidFill>
                  <a:srgbClr val="1D81BD"/>
                </a:solidFill>
              </a:defRPr>
            </a:lvl2pPr>
            <a:lvl3pPr>
              <a:defRPr sz="1600" b="1" baseline="0">
                <a:solidFill>
                  <a:srgbClr val="1D81BD"/>
                </a:solidFill>
              </a:defRPr>
            </a:lvl3pPr>
            <a:lvl4pPr>
              <a:defRPr sz="1600" b="1">
                <a:solidFill>
                  <a:srgbClr val="1D81BD"/>
                </a:solidFill>
              </a:defRPr>
            </a:lvl4pPr>
            <a:lvl5pPr>
              <a:defRPr sz="1600" b="1">
                <a:solidFill>
                  <a:srgbClr val="1D81BD"/>
                </a:solidFill>
              </a:defRPr>
            </a:lvl5pPr>
            <a:lvl6pPr>
              <a:defRPr sz="1600" b="1">
                <a:solidFill>
                  <a:srgbClr val="1D81BD"/>
                </a:solidFill>
              </a:defRPr>
            </a:lvl6pPr>
            <a:lvl7pPr>
              <a:defRPr sz="1600" b="1">
                <a:solidFill>
                  <a:srgbClr val="1D81BD"/>
                </a:solidFill>
              </a:defRPr>
            </a:lvl7pPr>
            <a:lvl8pPr>
              <a:defRPr sz="1600" b="1">
                <a:solidFill>
                  <a:srgbClr val="1D81BD"/>
                </a:solidFill>
              </a:defRPr>
            </a:lvl8pPr>
            <a:lvl9pPr>
              <a:buNone/>
              <a:defRPr sz="1600" b="1">
                <a:solidFill>
                  <a:srgbClr val="1D81BD"/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037384" cy="79208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13" name="Espace réservé du contenu 14"/>
          <p:cNvSpPr>
            <a:spLocks noGrp="1"/>
          </p:cNvSpPr>
          <p:nvPr>
            <p:ph sz="quarter" idx="15"/>
          </p:nvPr>
        </p:nvSpPr>
        <p:spPr>
          <a:xfrm>
            <a:off x="827584" y="2428868"/>
            <a:ext cx="8247290" cy="3571900"/>
          </a:xfrm>
          <a:prstGeom prst="rect">
            <a:avLst/>
          </a:prstGeom>
        </p:spPr>
        <p:txBody>
          <a:bodyPr/>
          <a:lstStyle>
            <a:lvl1pPr marL="1588" indent="-1588" algn="just">
              <a:buFont typeface="Arial" pitchFamily="34" charset="0"/>
              <a:buNone/>
              <a:defRPr sz="1400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7F4AAB9A-83AE-584E-8D12-D8C74D9C9CA9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fld id="{10EC6AF3-B907-4D04-B68F-EBD5D641FA97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9324648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1474" y="1600201"/>
            <a:ext cx="8443914" cy="328602"/>
          </a:xfrm>
          <a:prstGeom prst="rect">
            <a:avLst/>
          </a:prstGeom>
        </p:spPr>
        <p:txBody>
          <a:bodyPr/>
          <a:lstStyle>
            <a:lvl1pPr marL="0" indent="-432000">
              <a:buClr>
                <a:srgbClr val="F18B2E"/>
              </a:buClr>
              <a:buSzPct val="110000"/>
              <a:buFontTx/>
              <a:buBlip>
                <a:blip r:embed="rId3"/>
              </a:buBlip>
              <a:defRPr sz="16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  <a:lvl2pPr>
              <a:buFontTx/>
              <a:buNone/>
              <a:defRPr sz="1600" b="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2pPr>
            <a:lvl3pPr>
              <a:buFont typeface="Arial" pitchFamily="34" charset="0"/>
              <a:buChar char="•"/>
              <a:defRPr sz="14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3pPr>
            <a:lvl4pPr>
              <a:buFont typeface="Wingdings" pitchFamily="2" charset="2"/>
              <a:buChar char="ü"/>
              <a:defRPr sz="12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>
          <a:xfrm>
            <a:off x="833307" y="2003310"/>
            <a:ext cx="8241567" cy="354120"/>
          </a:xfrm>
          <a:prstGeom prst="rect">
            <a:avLst/>
          </a:prstGeom>
        </p:spPr>
        <p:txBody>
          <a:bodyPr/>
          <a:lstStyle>
            <a:lvl1pPr marL="180975" indent="-163513">
              <a:buClr>
                <a:srgbClr val="463436"/>
              </a:buClr>
              <a:buFont typeface="Wingdings" charset="2"/>
              <a:buChar char="‣"/>
              <a:defRPr sz="1600" b="1" baseline="0">
                <a:solidFill>
                  <a:srgbClr val="F18B2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 b="1">
                <a:solidFill>
                  <a:srgbClr val="1D81BD"/>
                </a:solidFill>
              </a:defRPr>
            </a:lvl2pPr>
            <a:lvl3pPr>
              <a:defRPr sz="1600" b="1" baseline="0">
                <a:solidFill>
                  <a:srgbClr val="1D81BD"/>
                </a:solidFill>
              </a:defRPr>
            </a:lvl3pPr>
            <a:lvl4pPr>
              <a:defRPr sz="1600" b="1">
                <a:solidFill>
                  <a:srgbClr val="1D81BD"/>
                </a:solidFill>
              </a:defRPr>
            </a:lvl4pPr>
            <a:lvl5pPr>
              <a:defRPr sz="1600" b="1">
                <a:solidFill>
                  <a:srgbClr val="1D81BD"/>
                </a:solidFill>
              </a:defRPr>
            </a:lvl5pPr>
            <a:lvl6pPr>
              <a:defRPr sz="1600" b="1">
                <a:solidFill>
                  <a:srgbClr val="1D81BD"/>
                </a:solidFill>
              </a:defRPr>
            </a:lvl6pPr>
            <a:lvl7pPr>
              <a:defRPr sz="1600" b="1">
                <a:solidFill>
                  <a:srgbClr val="1D81BD"/>
                </a:solidFill>
              </a:defRPr>
            </a:lvl7pPr>
            <a:lvl8pPr>
              <a:defRPr sz="1600" b="1">
                <a:solidFill>
                  <a:srgbClr val="1D81BD"/>
                </a:solidFill>
              </a:defRPr>
            </a:lvl8pPr>
            <a:lvl9pPr>
              <a:buNone/>
              <a:defRPr sz="1600" b="1">
                <a:solidFill>
                  <a:srgbClr val="1D81BD"/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342928" y="260648"/>
            <a:ext cx="7037384" cy="79208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4AF200E0-C85F-3A4A-848A-643236141CAE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60218F76-A6DA-4797-AE6F-3A1BC664F282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40479806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age avec titre + sous-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10033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8331200" y="6616700"/>
            <a:ext cx="184150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endParaRPr lang="fr-FR" sz="1800" dirty="0">
              <a:ea typeface="+mn-ea"/>
              <a:cs typeface="+mn-cs"/>
            </a:endParaRPr>
          </a:p>
        </p:txBody>
      </p:sp>
      <p:pic>
        <p:nvPicPr>
          <p:cNvPr id="5" name="Imag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025" y="3276600"/>
            <a:ext cx="72199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2286000" y="685800"/>
            <a:ext cx="4585492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200" b="1" cap="all" baseline="0">
                <a:solidFill>
                  <a:srgbClr val="4634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Cliquez et modifiez le titre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0" y="6477000"/>
            <a:ext cx="9144000" cy="381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38584031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8D2978E-2CE7-D545-A572-DBCEF7B3B145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C36E08A9-7B66-490D-A76C-2F768EE1CE5E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821388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AF95D1-4956-214C-8F5D-A8F941D52117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19135237-E8D9-4890-9612-1C24A2FA43A0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4539057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BCA3F5F-D417-FE45-BA36-FD72AD16D5AE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E1AC0B1-31F5-4DD5-B06C-E055F2486436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3974419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6.emf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17" Type="http://schemas.openxmlformats.org/officeDocument/2006/relationships/tags" Target="../tags/tag5.xml"/><Relationship Id="rId25" Type="http://schemas.openxmlformats.org/officeDocument/2006/relationships/image" Target="../media/image5.emf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10" Type="http://schemas.openxmlformats.org/officeDocument/2006/relationships/slideLayout" Target="../slideLayouts/slideLayout16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554486" y="6306797"/>
            <a:ext cx="1512604" cy="418744"/>
          </a:xfrm>
          <a:prstGeom prst="rect">
            <a:avLst/>
          </a:prstGeom>
          <a:solidFill>
            <a:srgbClr val="F18B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dirty="0"/>
              <a:t>L'HERBLAISIENNE –</a:t>
            </a:r>
          </a:p>
          <a:p>
            <a:pPr algn="ctr">
              <a:defRPr/>
            </a:pPr>
            <a:r>
              <a:rPr lang="fr-FR" sz="800" dirty="0"/>
              <a:t>43 rue du Général de Gaulle</a:t>
            </a:r>
          </a:p>
          <a:p>
            <a:pPr algn="ctr">
              <a:defRPr/>
            </a:pPr>
            <a:r>
              <a:rPr lang="fr-FR" sz="800" dirty="0"/>
              <a:t> 95220 HERBLAY</a:t>
            </a:r>
          </a:p>
        </p:txBody>
      </p:sp>
      <p:sp>
        <p:nvSpPr>
          <p:cNvPr id="3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938965" y="6453188"/>
            <a:ext cx="482600" cy="3016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cs typeface="Arial" charset="0"/>
              </a:defRPr>
            </a:lvl1pPr>
          </a:lstStyle>
          <a:p>
            <a:fld id="{F8A22C28-2E41-8349-AB9D-CE900EF092C8}" type="slidenum">
              <a:rPr lang="fr-FR"/>
              <a:pPr/>
              <a:t>‹N°›</a:t>
            </a:fld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185738" y="6524625"/>
            <a:ext cx="847725" cy="222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EDC4C2F6-4744-4488-8FC2-4C25EAB392D1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1042988" y="6524625"/>
            <a:ext cx="5400675" cy="2174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/>
              <a:t>Assemblée Générale Ordinaire - 16 11 2017</a:t>
            </a:r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</p:sldLayoutIdLst>
  <p:hf hdr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828" name="Object 1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34828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826" name="Rectangle 10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1116013" y="1924050"/>
            <a:ext cx="7375525" cy="323373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  <a:br>
              <a:rPr lang="fr-FR"/>
            </a:br>
            <a:br>
              <a:rPr lang="fr-FR"/>
            </a:br>
            <a:endParaRPr lang="fr-FR"/>
          </a:p>
        </p:txBody>
      </p:sp>
      <p:sp>
        <p:nvSpPr>
          <p:cNvPr id="2" name="Rectangle 1"/>
          <p:cNvSpPr/>
          <p:nvPr>
            <p:custDataLst>
              <p:tags r:id="rId16"/>
            </p:custDataLst>
          </p:nvPr>
        </p:nvSpPr>
        <p:spPr>
          <a:xfrm>
            <a:off x="0" y="6381750"/>
            <a:ext cx="9144000" cy="476250"/>
          </a:xfrm>
          <a:prstGeom prst="rect">
            <a:avLst/>
          </a:prstGeom>
          <a:solidFill>
            <a:srgbClr val="F18B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800"/>
              <a:t> </a:t>
            </a:r>
          </a:p>
        </p:txBody>
      </p:sp>
      <p:pic>
        <p:nvPicPr>
          <p:cNvPr id="34819" name="Image 5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1175" y="6524625"/>
            <a:ext cx="76200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0" name="Image 6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549275"/>
            <a:ext cx="1649413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1" name="Image 7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0"/>
            <a:ext cx="1649413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Espace réservé du numéro de diapositive 5"/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7451725" y="6453188"/>
            <a:ext cx="482600" cy="3016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cs typeface="+mn-cs"/>
              </a:defRPr>
            </a:lvl1pPr>
          </a:lstStyle>
          <a:p>
            <a:fld id="{41556B01-E030-8F4C-8743-8C9CBC617DA7}" type="slidenum">
              <a:rPr lang="fr-FR"/>
              <a:pPr/>
              <a:t>‹N°›</a:t>
            </a:fld>
            <a:endParaRPr lang="fr-FR"/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>
          <a:xfrm>
            <a:off x="185738" y="6524625"/>
            <a:ext cx="847725" cy="222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A9D0F6A0-4F59-4D68-AD96-758C0746EA59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>
          <a:xfrm>
            <a:off x="1042988" y="6524625"/>
            <a:ext cx="5400675" cy="2174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/>
              <a:t>Assemblée Générale Ordinaire - 16 11 2017</a:t>
            </a:r>
          </a:p>
        </p:txBody>
      </p:sp>
      <p:sp>
        <p:nvSpPr>
          <p:cNvPr id="34827" name="Rectangle 11"/>
          <p:cNvSpPr>
            <a:spLocks noGrp="1" noChangeArrowheads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7264400" y="307975"/>
            <a:ext cx="7302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#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/>
  <p:txStyles>
    <p:titleStyle>
      <a:lvl1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+mj-lt"/>
          <a:ea typeface="+mj-ea"/>
          <a:cs typeface="+mj-cs"/>
        </a:defRPr>
      </a:lvl1pPr>
      <a:lvl2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2pPr>
      <a:lvl3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3pPr>
      <a:lvl4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4pPr>
      <a:lvl5pPr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3200" b="1">
          <a:solidFill>
            <a:srgbClr val="463436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algn="ctr" rtl="0" fontAlgn="base">
        <a:spcBef>
          <a:spcPct val="20000"/>
        </a:spcBef>
        <a:spcAft>
          <a:spcPct val="0"/>
        </a:spcAft>
        <a:buFont typeface="Arial" charset="0"/>
        <a:defRPr sz="3200" b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defRPr sz="2800">
          <a:solidFill>
            <a:schemeClr val="tx1"/>
          </a:solidFill>
          <a:latin typeface="Calibri" charset="0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Calibri" charset="0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defRPr sz="2000">
          <a:solidFill>
            <a:schemeClr val="tx1"/>
          </a:solidFill>
          <a:latin typeface="Calibri" charset="0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10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10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10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10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10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7" Type="http://schemas.openxmlformats.org/officeDocument/2006/relationships/image" Target="../media/image10.png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755650" y="1628775"/>
            <a:ext cx="7772400" cy="1000125"/>
          </a:xfrm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fr-FR" cap="none" dirty="0">
                <a:latin typeface="Arial" charset="0"/>
                <a:cs typeface="Arial" charset="0"/>
              </a:rPr>
              <a:t>Assemblée </a:t>
            </a:r>
            <a:br>
              <a:rPr lang="fr-FR" cap="none" dirty="0">
                <a:latin typeface="Arial" charset="0"/>
                <a:cs typeface="Arial" charset="0"/>
              </a:rPr>
            </a:br>
            <a:r>
              <a:rPr lang="fr-FR" cap="none" dirty="0">
                <a:latin typeface="Arial" charset="0"/>
                <a:cs typeface="Arial" charset="0"/>
              </a:rPr>
              <a:t>Générale Ordinaire </a:t>
            </a:r>
          </a:p>
        </p:txBody>
      </p:sp>
      <p:sp>
        <p:nvSpPr>
          <p:cNvPr id="10243" name="Sous-titre 3"/>
          <p:cNvSpPr>
            <a:spLocks noGrp="1"/>
          </p:cNvSpPr>
          <p:nvPr>
            <p:ph type="subTitle" idx="1"/>
          </p:nvPr>
        </p:nvSpPr>
        <p:spPr bwMode="auto">
          <a:xfrm>
            <a:off x="4727274" y="2781300"/>
            <a:ext cx="3800775" cy="107156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dirty="0">
                <a:latin typeface="Arial" charset="0"/>
                <a:cs typeface="Arial" charset="0"/>
              </a:rPr>
              <a:t>16 Novembre 2019</a:t>
            </a:r>
          </a:p>
          <a:p>
            <a:pPr algn="ctr"/>
            <a:r>
              <a:rPr lang="fr-FR" dirty="0">
                <a:solidFill>
                  <a:srgbClr val="FF0000"/>
                </a:solidFill>
                <a:latin typeface="Arial" charset="0"/>
                <a:cs typeface="Arial" charset="0"/>
              </a:rPr>
              <a:t>Bienvenue</a:t>
            </a:r>
          </a:p>
        </p:txBody>
      </p:sp>
      <p:sp>
        <p:nvSpPr>
          <p:cNvPr id="7" name="Rectangle 6"/>
          <p:cNvSpPr/>
          <p:nvPr/>
        </p:nvSpPr>
        <p:spPr>
          <a:xfrm>
            <a:off x="2544792" y="3838755"/>
            <a:ext cx="45719" cy="457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1035170" y="3579962"/>
            <a:ext cx="3148641" cy="3709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7108" name="Picture 4" descr="https://www.lherblaisienne.fr/media/uploaded/sites/10021/partenaire/56be3c055f114_logofondblancffba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46752" y="3860049"/>
            <a:ext cx="1690477" cy="2173470"/>
          </a:xfrm>
          <a:prstGeom prst="rect">
            <a:avLst/>
          </a:prstGeom>
          <a:noFill/>
        </p:spPr>
      </p:pic>
      <p:pic>
        <p:nvPicPr>
          <p:cNvPr id="47110" name="Picture 6" descr="Fédération Française de Gymnastiqu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49673" y="4174757"/>
            <a:ext cx="1759489" cy="1114344"/>
          </a:xfrm>
          <a:prstGeom prst="rect">
            <a:avLst/>
          </a:prstGeom>
          <a:noFill/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0C7960E2-817E-473E-BC50-BEA3F0FDC0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062" y="219358"/>
            <a:ext cx="4450767" cy="6276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0057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ymnastique masculine 2018-2019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6AF261B-E250-4B36-B10B-AF89433F06DA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9876" name="Picture 4" descr="Couvertur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60401" y="751902"/>
            <a:ext cx="2857500" cy="1809751"/>
          </a:xfrm>
          <a:prstGeom prst="rect">
            <a:avLst/>
          </a:prstGeom>
          <a:noFill/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9B1AF47F-3379-4B53-93C9-E12A157B58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238" y="786203"/>
            <a:ext cx="2857497" cy="1809751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6F55041D-86CC-4671-9FD6-99C71EF898E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61" y="4378726"/>
            <a:ext cx="2727697" cy="2045773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0E1CE911-E5D7-4495-A112-66DB740A05A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0624" y="2689163"/>
            <a:ext cx="2675273" cy="200645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CC22257-C112-4D64-A567-BBCD286DB65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2628" y="4317919"/>
            <a:ext cx="2675273" cy="2006455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42928" y="1175838"/>
            <a:ext cx="8424936" cy="3802744"/>
          </a:xfrm>
        </p:spPr>
        <p:txBody>
          <a:bodyPr/>
          <a:lstStyle/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r>
              <a:rPr lang="fr-FR" dirty="0"/>
              <a:t>Jeunes </a:t>
            </a:r>
          </a:p>
          <a:p>
            <a:pPr lvl="1"/>
            <a:r>
              <a:rPr lang="fr-FR" dirty="0"/>
              <a:t>2 titres de champion du Val d’Oise</a:t>
            </a:r>
          </a:p>
          <a:p>
            <a:pPr lvl="1"/>
            <a:r>
              <a:rPr lang="fr-FR" dirty="0"/>
              <a:t>6 titres de Vice-champion du Val d’Oise</a:t>
            </a:r>
          </a:p>
          <a:p>
            <a:pPr lvl="1"/>
            <a:r>
              <a:rPr lang="fr-FR" dirty="0"/>
              <a:t>Stages</a:t>
            </a:r>
          </a:p>
          <a:p>
            <a:pPr lvl="1"/>
            <a:endParaRPr lang="fr-FR" dirty="0"/>
          </a:p>
          <a:p>
            <a:r>
              <a:rPr lang="fr-FR" dirty="0"/>
              <a:t>Interclubs Séniors</a:t>
            </a:r>
          </a:p>
          <a:p>
            <a:pPr lvl="1"/>
            <a:r>
              <a:rPr lang="fr-FR" dirty="0"/>
              <a:t>En 2017-2018 : 1 équipe mixte et 2 équipes masculines</a:t>
            </a:r>
          </a:p>
          <a:p>
            <a:pPr lvl="1"/>
            <a:r>
              <a:rPr lang="fr-FR" dirty="0"/>
              <a:t>En 2018-2019 : 2 équipes mixte et 3 équipes masculines</a:t>
            </a:r>
          </a:p>
          <a:p>
            <a:endParaRPr lang="fr-FR" dirty="0"/>
          </a:p>
          <a:p>
            <a:r>
              <a:rPr lang="fr-FR" dirty="0"/>
              <a:t>Inter Clubs Vétérans </a:t>
            </a:r>
          </a:p>
          <a:p>
            <a:pPr lvl="1"/>
            <a:r>
              <a:rPr lang="fr-FR" dirty="0"/>
              <a:t>7 équipes engagées (Ermont (2), Eragny, Jouy le Moutier, Cergy, </a:t>
            </a:r>
            <a:r>
              <a:rPr lang="fr-FR" dirty="0" err="1"/>
              <a:t>Méry</a:t>
            </a:r>
            <a:r>
              <a:rPr lang="fr-FR" dirty="0"/>
              <a:t>, Herblay</a:t>
            </a:r>
          </a:p>
          <a:p>
            <a:pPr lvl="1"/>
            <a:r>
              <a:rPr lang="fr-FR" dirty="0"/>
              <a:t>2</a:t>
            </a:r>
            <a:r>
              <a:rPr lang="fr-FR" baseline="30000" dirty="0"/>
              <a:t>ème</a:t>
            </a:r>
            <a:r>
              <a:rPr lang="fr-FR" dirty="0"/>
              <a:t> derrière ERMONT</a:t>
            </a:r>
          </a:p>
          <a:p>
            <a:pPr lvl="1"/>
            <a:r>
              <a:rPr lang="fr-FR" dirty="0"/>
              <a:t>Pour 2018 – 2019 : 2 équipes d’HERBLAY , toujours 7 équipes mais seulement 3 clubs</a:t>
            </a:r>
          </a:p>
          <a:p>
            <a:pPr lvl="1"/>
            <a:endParaRPr lang="fr-FR" dirty="0"/>
          </a:p>
          <a:p>
            <a:pPr marL="252000" lvl="1" indent="0">
              <a:buNone/>
            </a:pPr>
            <a:endParaRPr lang="fr-FR" dirty="0"/>
          </a:p>
          <a:p>
            <a:pPr lvl="1"/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SULTATS 2018– 2019 de BADMINT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417133E-36E1-4A9E-B2B2-31FED714BF7F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>
          <a:xfrm>
            <a:off x="594414" y="6395229"/>
            <a:ext cx="5400675" cy="217488"/>
          </a:xfrm>
        </p:spPr>
        <p:txBody>
          <a:bodyPr/>
          <a:lstStyle/>
          <a:p>
            <a:r>
              <a:rPr lang="fr-FR"/>
              <a:t>Assemblée Générale Ordinaire - 16 11 2017</a:t>
            </a:r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472628F-DAC3-44F2-9EB8-B2B7EE5432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850" y="1566848"/>
            <a:ext cx="8040222" cy="323895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82A1AB66-F7E2-4968-BFA6-0FDC17D7D7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4720" y="1877843"/>
            <a:ext cx="8049748" cy="157184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F802C95-B402-4D49-91D2-F5A37737C7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8562" y="3462587"/>
            <a:ext cx="7925906" cy="1114581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7D25D35A-D92D-4E34-AA50-73CCE1000E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8562" y="4683266"/>
            <a:ext cx="7983064" cy="295316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8FB86673-E11E-41E6-B41A-9C454A7CB6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9983" y="5155678"/>
            <a:ext cx="7983064" cy="619211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3260CAFD-9F0F-47C2-B38C-2ABA29022D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928" y="1234875"/>
            <a:ext cx="7944959" cy="1419423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33A4EB3-8D52-4D84-ACE8-DFDD63936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SULTATS 2018– 2019 de BADMINTO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39A2679-1979-4DBD-B73C-491E0D687C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0799048-EA9B-4398-A198-AFAEB0422D3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8B891EE-3338-415A-9D59-D7417469F3B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CA1F3244-FCD3-4B5E-9FA1-BEB13C94D9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17" y="2654298"/>
            <a:ext cx="8097380" cy="971686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EC23AD39-0E2C-4316-BD75-BD250A71CB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2928" y="3830799"/>
            <a:ext cx="8011643" cy="485843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667CB071-AC5E-4C39-A875-AF3F5A8C43C3}"/>
              </a:ext>
            </a:extLst>
          </p:cNvPr>
          <p:cNvSpPr txBox="1"/>
          <p:nvPr/>
        </p:nvSpPr>
        <p:spPr>
          <a:xfrm>
            <a:off x="439387" y="4316642"/>
            <a:ext cx="698217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chemeClr val="accent6"/>
                </a:solidFill>
              </a:rPr>
              <a:t>Interclubs Mixtes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fr-FR" sz="2000" dirty="0"/>
              <a:t>2 équipes en 18-19 -</a:t>
            </a:r>
            <a:r>
              <a:rPr lang="fr-FR" sz="2000" dirty="0">
                <a:sym typeface="Wingdings" panose="05000000000000000000" pitchFamily="2" charset="2"/>
              </a:rPr>
              <a:t> 3 en 19/20</a:t>
            </a:r>
            <a:endParaRPr lang="fr-F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chemeClr val="accent6"/>
                </a:solidFill>
              </a:rPr>
              <a:t>Interclubs Masculin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fr-FR" sz="2000" dirty="0"/>
              <a:t> 3 équipes en 18-19 -</a:t>
            </a:r>
            <a:r>
              <a:rPr lang="fr-FR" sz="2000" dirty="0">
                <a:sym typeface="Wingdings" panose="05000000000000000000" pitchFamily="2" charset="2"/>
              </a:rPr>
              <a:t> 3 en 19/20</a:t>
            </a:r>
            <a:endParaRPr lang="fr-F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chemeClr val="accent6"/>
                </a:solidFill>
              </a:rPr>
              <a:t>Interclubs Vétéran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fr-FR" sz="2000" dirty="0"/>
              <a:t> 2 équipes en 18-19 -</a:t>
            </a:r>
            <a:r>
              <a:rPr lang="fr-FR" sz="2000" dirty="0">
                <a:sym typeface="Wingdings" panose="05000000000000000000" pitchFamily="2" charset="2"/>
              </a:rPr>
              <a:t> 2 en 19/20</a:t>
            </a:r>
            <a:endParaRPr lang="fr-F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613732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B5B771EA-3074-43E9-B5D9-8D51EFB762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882" y="1384032"/>
            <a:ext cx="1162212" cy="1762371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6E8206FA-1CC5-4E4B-B2EC-699C1EF11F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tour sur quelques EVENEMENTS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A734F94-E1C6-4519-9103-79155481FE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3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FEE9C7A-F692-4229-A61A-39930F2551F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794CF08-804D-4523-9175-B9456E09232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A4FE734-4FCB-4E1B-B352-7998E45748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8759" y="1198902"/>
            <a:ext cx="2249132" cy="1794251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AAF8AB2E-E088-4623-B1D6-236332829B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3914" y="1046442"/>
            <a:ext cx="2709986" cy="1992206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A6450F75-47D1-46FF-BA0A-0AE5BD2496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5738" y="4030164"/>
            <a:ext cx="1938615" cy="1434351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02665D4-5676-41B0-817D-C5F9CE694B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93733" y="3489643"/>
            <a:ext cx="3249606" cy="2349113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B60D1DA-3DED-4D14-B21B-91B9CF96CA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67362" y="4030164"/>
            <a:ext cx="2000529" cy="1400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2569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sz="2800" dirty="0"/>
              <a:t>QUESTIONS SUR LE RAPPORT </a:t>
            </a:r>
          </a:p>
          <a:p>
            <a:pPr>
              <a:buNone/>
            </a:pPr>
            <a:r>
              <a:rPr lang="fr-FR" sz="2800" dirty="0"/>
              <a:t>             MORAL DU PRESIDENT ?</a:t>
            </a:r>
          </a:p>
          <a:p>
            <a:endParaRPr lang="fr-FR" sz="2800" dirty="0"/>
          </a:p>
          <a:p>
            <a:endParaRPr lang="fr-FR" sz="2800" dirty="0"/>
          </a:p>
          <a:p>
            <a:endParaRPr lang="fr-FR" sz="2800" dirty="0"/>
          </a:p>
          <a:p>
            <a:endParaRPr lang="fr-FR" sz="2800" dirty="0"/>
          </a:p>
          <a:p>
            <a:r>
              <a:rPr lang="fr-FR" sz="2800" dirty="0"/>
              <a:t>APPROBATION ?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YNTHESE 2018 - 2019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43DA07-AC1A-402B-9760-FD886FBEF874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67649" y="2624301"/>
            <a:ext cx="1983117" cy="1983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16/11/2019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1781793630"/>
              </p:ext>
            </p:extLst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020556" y="1998195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92845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E15D898-A553-4326-8A98-0BFD9DA58E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DEPENSES 2018 - 2019 </a:t>
            </a:r>
            <a:br>
              <a:rPr lang="fr-FR" dirty="0"/>
            </a:br>
            <a:r>
              <a:rPr lang="fr-FR" dirty="0"/>
              <a:t>          Budget : </a:t>
            </a:r>
            <a:r>
              <a:rPr lang="fr-FR" dirty="0">
                <a:solidFill>
                  <a:srgbClr val="FF0000"/>
                </a:solidFill>
              </a:rPr>
              <a:t>81 450 €  </a:t>
            </a:r>
            <a:r>
              <a:rPr lang="fr-FR" dirty="0">
                <a:solidFill>
                  <a:schemeClr val="tx1"/>
                </a:solidFill>
              </a:rPr>
              <a:t>REALISEES : </a:t>
            </a:r>
            <a:r>
              <a:rPr lang="fr-FR" dirty="0">
                <a:solidFill>
                  <a:srgbClr val="FF0000"/>
                </a:solidFill>
              </a:rPr>
              <a:t>84 760 €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D138788-D9D9-4452-8F2B-084057F3A1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0B84F00-DFFD-4298-9902-4C02CBDA2FC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41718BE-0A71-45BA-A960-4B5F019212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A5ACD127-366A-45C6-B261-D64C17D8C4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7364343"/>
              </p:ext>
            </p:extLst>
          </p:nvPr>
        </p:nvGraphicFramePr>
        <p:xfrm>
          <a:off x="795647" y="1540362"/>
          <a:ext cx="7695210" cy="4432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930181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DEPENSES 2018 - 2019 </a:t>
            </a:r>
            <a:br>
              <a:rPr lang="fr-FR" dirty="0"/>
            </a:br>
            <a:r>
              <a:rPr lang="fr-FR" dirty="0"/>
              <a:t>          Budget : </a:t>
            </a:r>
            <a:r>
              <a:rPr lang="fr-FR" dirty="0">
                <a:solidFill>
                  <a:srgbClr val="FF0000"/>
                </a:solidFill>
              </a:rPr>
              <a:t>81 450 €  </a:t>
            </a:r>
            <a:r>
              <a:rPr lang="fr-FR" dirty="0">
                <a:solidFill>
                  <a:schemeClr val="tx1"/>
                </a:solidFill>
              </a:rPr>
              <a:t>REALISEES : </a:t>
            </a:r>
            <a:r>
              <a:rPr lang="fr-FR" dirty="0">
                <a:solidFill>
                  <a:srgbClr val="FF0000"/>
                </a:solidFill>
              </a:rPr>
              <a:t>84 760 €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7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116425F-5A08-4F77-A7B6-7F58191C52E6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A5ACD127-366A-45C6-B261-D64C17D8C4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1992060"/>
              </p:ext>
            </p:extLst>
          </p:nvPr>
        </p:nvGraphicFramePr>
        <p:xfrm>
          <a:off x="1140882" y="1302857"/>
          <a:ext cx="6566204" cy="4694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RECETTES 2016 -2017 </a:t>
            </a:r>
            <a:br>
              <a:rPr lang="fr-FR" dirty="0"/>
            </a:br>
            <a:r>
              <a:rPr lang="fr-FR" dirty="0"/>
              <a:t>          Budget : </a:t>
            </a:r>
            <a:r>
              <a:rPr lang="fr-FR" dirty="0">
                <a:solidFill>
                  <a:srgbClr val="FF0000"/>
                </a:solidFill>
              </a:rPr>
              <a:t>83 160 €  </a:t>
            </a:r>
            <a:r>
              <a:rPr lang="fr-FR" dirty="0">
                <a:solidFill>
                  <a:schemeClr val="tx1"/>
                </a:solidFill>
              </a:rPr>
              <a:t>REALISEES : </a:t>
            </a:r>
            <a:r>
              <a:rPr lang="fr-FR" dirty="0">
                <a:solidFill>
                  <a:srgbClr val="FF0000"/>
                </a:solidFill>
              </a:rPr>
              <a:t>81 336 €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9" name="Graphique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0208353"/>
              </p:ext>
            </p:extLst>
          </p:nvPr>
        </p:nvGraphicFramePr>
        <p:xfrm>
          <a:off x="1033463" y="1298713"/>
          <a:ext cx="7818989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RECETTES 2018 - 2019 </a:t>
            </a:r>
            <a:br>
              <a:rPr lang="fr-FR" dirty="0"/>
            </a:br>
            <a:r>
              <a:rPr lang="fr-FR" dirty="0"/>
              <a:t>          Budget : </a:t>
            </a:r>
            <a:r>
              <a:rPr lang="fr-FR" dirty="0">
                <a:solidFill>
                  <a:srgbClr val="FF0000"/>
                </a:solidFill>
              </a:rPr>
              <a:t>83 160 €  </a:t>
            </a:r>
            <a:r>
              <a:rPr lang="fr-FR" dirty="0">
                <a:solidFill>
                  <a:schemeClr val="tx1"/>
                </a:solidFill>
              </a:rPr>
              <a:t>REALISEES : </a:t>
            </a:r>
            <a:r>
              <a:rPr lang="fr-FR" dirty="0">
                <a:solidFill>
                  <a:srgbClr val="FF0000"/>
                </a:solidFill>
              </a:rPr>
              <a:t>81 336 €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8" name="Graphique 7">
            <a:extLst>
              <a:ext uri="{FF2B5EF4-FFF2-40B4-BE49-F238E27FC236}">
                <a16:creationId xmlns:a16="http://schemas.microsoft.com/office/drawing/2014/main" id="{3C332E61-F5C8-43D7-891A-B3E839EC40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8158628"/>
              </p:ext>
            </p:extLst>
          </p:nvPr>
        </p:nvGraphicFramePr>
        <p:xfrm>
          <a:off x="581891" y="1751321"/>
          <a:ext cx="8015844" cy="43525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64722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16/11/2019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4192393975"/>
              </p:ext>
            </p:extLst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575712" y="1282578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611169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3F68D50-0127-446D-A1DB-3356F117FF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RECETTES 2018 - 2019 </a:t>
            </a:r>
            <a:br>
              <a:rPr lang="fr-FR" dirty="0"/>
            </a:br>
            <a:r>
              <a:rPr lang="fr-FR" dirty="0"/>
              <a:t>          Budget : </a:t>
            </a:r>
            <a:r>
              <a:rPr lang="fr-FR" dirty="0">
                <a:solidFill>
                  <a:srgbClr val="FF0000"/>
                </a:solidFill>
              </a:rPr>
              <a:t>83 160 €  </a:t>
            </a:r>
            <a:r>
              <a:rPr lang="fr-FR" dirty="0">
                <a:solidFill>
                  <a:schemeClr val="tx1"/>
                </a:solidFill>
              </a:rPr>
              <a:t>REALISEES : </a:t>
            </a:r>
            <a:r>
              <a:rPr lang="fr-FR" dirty="0">
                <a:solidFill>
                  <a:srgbClr val="FF0000"/>
                </a:solidFill>
              </a:rPr>
              <a:t>81 336 €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0FDABA3-E5CE-4C01-BD65-A802199190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B8275DD-923C-4F42-983E-0EE7C56CBFF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D4733F5-7270-4AC0-B66C-ECA150241B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8" name="Graphique 7">
            <a:extLst>
              <a:ext uri="{FF2B5EF4-FFF2-40B4-BE49-F238E27FC236}">
                <a16:creationId xmlns:a16="http://schemas.microsoft.com/office/drawing/2014/main" id="{DF64C0A6-45B3-48E9-AB68-9A14B2BF7CA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7367249"/>
              </p:ext>
            </p:extLst>
          </p:nvPr>
        </p:nvGraphicFramePr>
        <p:xfrm>
          <a:off x="526634" y="1602093"/>
          <a:ext cx="8272982" cy="4525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886016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42928" y="1277166"/>
            <a:ext cx="8424936" cy="4964608"/>
          </a:xfrm>
        </p:spPr>
        <p:txBody>
          <a:bodyPr/>
          <a:lstStyle/>
          <a:p>
            <a:pPr indent="0">
              <a:buNone/>
            </a:pPr>
            <a:endParaRPr lang="fr-FR" sz="2800" dirty="0"/>
          </a:p>
          <a:p>
            <a:r>
              <a:rPr lang="fr-FR" sz="2800" dirty="0"/>
              <a:t> Résultat </a:t>
            </a:r>
            <a:r>
              <a:rPr lang="fr-FR" sz="2800" dirty="0">
                <a:solidFill>
                  <a:srgbClr val="00B050"/>
                </a:solidFill>
              </a:rPr>
              <a:t>+ 1 985 €</a:t>
            </a:r>
          </a:p>
          <a:p>
            <a:endParaRPr lang="fr-FR" sz="2800" dirty="0"/>
          </a:p>
          <a:p>
            <a:r>
              <a:rPr lang="fr-FR" sz="2800" dirty="0"/>
              <a:t>QUESTIONS SUR LE RAPPORT </a:t>
            </a:r>
          </a:p>
          <a:p>
            <a:pPr>
              <a:buNone/>
            </a:pPr>
            <a:r>
              <a:rPr lang="fr-FR" sz="2800" dirty="0"/>
              <a:t>             FINANCIER 2018 - 2019?</a:t>
            </a:r>
          </a:p>
          <a:p>
            <a:endParaRPr lang="fr-FR" sz="2800" dirty="0"/>
          </a:p>
          <a:p>
            <a:endParaRPr lang="fr-FR" sz="2800" dirty="0"/>
          </a:p>
          <a:p>
            <a:r>
              <a:rPr lang="fr-FR" sz="2400" dirty="0"/>
              <a:t>APPROBATION DES COMPTES 2018 – 2019 ?</a:t>
            </a:r>
            <a:endParaRPr lang="fr-FR" sz="1400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apport financier 2018 - 2019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1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088FA44-73D0-4364-8C0B-E7B1C06F0A28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16/11/2019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3081424479"/>
              </p:ext>
            </p:extLst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326439" y="2743201"/>
            <a:ext cx="561737" cy="6858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732672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E478D5CD-02D9-4882-8685-E246344BCD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 Contribuer à la définition du PROJET du CLUB</a:t>
            </a:r>
          </a:p>
          <a:p>
            <a:endParaRPr lang="fr-FR" dirty="0"/>
          </a:p>
          <a:p>
            <a:r>
              <a:rPr lang="fr-FR" dirty="0"/>
              <a:t>Assurer son fonctionnement</a:t>
            </a:r>
          </a:p>
          <a:p>
            <a:pPr indent="0">
              <a:buNone/>
            </a:pPr>
            <a:endParaRPr lang="fr-FR" dirty="0"/>
          </a:p>
          <a:p>
            <a:r>
              <a:rPr lang="fr-FR" dirty="0"/>
              <a:t>Statuts, durée des mandats et modalités d’élection</a:t>
            </a:r>
          </a:p>
          <a:p>
            <a:pPr indent="0">
              <a:buNone/>
            </a:pPr>
            <a:endParaRPr lang="fr-FR" dirty="0"/>
          </a:p>
          <a:p>
            <a:r>
              <a:rPr lang="fr-FR" dirty="0"/>
              <a:t>Rôle du Bureau</a:t>
            </a:r>
          </a:p>
          <a:p>
            <a:endParaRPr lang="fr-FR" dirty="0"/>
          </a:p>
          <a:p>
            <a:r>
              <a:rPr lang="fr-FR" dirty="0"/>
              <a:t>Rôle des administrateur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7D5DBBC5-13E9-4DA3-BA1D-1749A3D64E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missions du Conseil d’</a:t>
            </a:r>
            <a:r>
              <a:rPr lang="fr-FR" dirty="0" err="1"/>
              <a:t>Administratr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C40BBCB-48C3-4B15-B7CB-D636439906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3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2B219BC-22D0-4618-9ED2-5C25B06D23D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9E2E386-0544-4C84-BF05-8FBB33D5EA8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6866094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ituation des MANDA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4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72A53D3B-B136-4511-9843-CEF837A958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8418470"/>
              </p:ext>
            </p:extLst>
          </p:nvPr>
        </p:nvGraphicFramePr>
        <p:xfrm>
          <a:off x="1330037" y="1046442"/>
          <a:ext cx="6911437" cy="34305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26865">
                  <a:extLst>
                    <a:ext uri="{9D8B030D-6E8A-4147-A177-3AD203B41FA5}">
                      <a16:colId xmlns:a16="http://schemas.microsoft.com/office/drawing/2014/main" val="2785713545"/>
                    </a:ext>
                  </a:extLst>
                </a:gridCol>
                <a:gridCol w="1126865">
                  <a:extLst>
                    <a:ext uri="{9D8B030D-6E8A-4147-A177-3AD203B41FA5}">
                      <a16:colId xmlns:a16="http://schemas.microsoft.com/office/drawing/2014/main" val="669467436"/>
                    </a:ext>
                  </a:extLst>
                </a:gridCol>
                <a:gridCol w="1878108">
                  <a:extLst>
                    <a:ext uri="{9D8B030D-6E8A-4147-A177-3AD203B41FA5}">
                      <a16:colId xmlns:a16="http://schemas.microsoft.com/office/drawing/2014/main" val="3334275659"/>
                    </a:ext>
                  </a:extLst>
                </a:gridCol>
                <a:gridCol w="1220770">
                  <a:extLst>
                    <a:ext uri="{9D8B030D-6E8A-4147-A177-3AD203B41FA5}">
                      <a16:colId xmlns:a16="http://schemas.microsoft.com/office/drawing/2014/main" val="818880393"/>
                    </a:ext>
                  </a:extLst>
                </a:gridCol>
                <a:gridCol w="1558829">
                  <a:extLst>
                    <a:ext uri="{9D8B030D-6E8A-4147-A177-3AD203B41FA5}">
                      <a16:colId xmlns:a16="http://schemas.microsoft.com/office/drawing/2014/main" val="1568950499"/>
                    </a:ext>
                  </a:extLst>
                </a:gridCol>
              </a:tblGrid>
              <a:tr h="311869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Prénom</a:t>
                      </a:r>
                      <a:endParaRPr lang="fr-FR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Nom</a:t>
                      </a:r>
                      <a:endParaRPr lang="fr-FR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Rôle</a:t>
                      </a:r>
                      <a:endParaRPr lang="fr-FR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Elu jusqu'en</a:t>
                      </a:r>
                      <a:endParaRPr lang="fr-FR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Commentaires</a:t>
                      </a:r>
                      <a:endParaRPr lang="fr-FR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91620299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Laurent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BRICOUT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Administrateur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2020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162280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Gilles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CASTEL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Administrateur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2021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44302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Alain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CATHELIN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Trésorier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2020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33820339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Philippe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CERISIER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Président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2021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1745750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Aliénor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FAURE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Trésorier adjointe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2020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91001881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Christophe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FROMENT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Administrateur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2021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29513248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Alain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GOURINEL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Administrateur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2020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40056296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Sandrine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LORIN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Administrateur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2019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se représente pas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5429236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Nathalie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PASTRESSE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Secrétaire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2021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437824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Sébastien 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SOUCHET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Vice-Président Badminton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u="none" strike="noStrike">
                          <a:effectLst/>
                        </a:rPr>
                        <a:t>2019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se représente pas</a:t>
                      </a:r>
                    </a:p>
                    <a:p>
                      <a:pPr algn="ctr" fontAlgn="ctr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91914"/>
                  </a:ext>
                </a:extLst>
              </a:tr>
            </a:tbl>
          </a:graphicData>
        </a:graphic>
      </p:graphicFrame>
      <p:sp>
        <p:nvSpPr>
          <p:cNvPr id="8" name="ZoneTexte 7">
            <a:extLst>
              <a:ext uri="{FF2B5EF4-FFF2-40B4-BE49-F238E27FC236}">
                <a16:creationId xmlns:a16="http://schemas.microsoft.com/office/drawing/2014/main" id="{4E2B9992-572A-43CD-A8D5-BFECCADDE6D6}"/>
              </a:ext>
            </a:extLst>
          </p:cNvPr>
          <p:cNvSpPr txBox="1"/>
          <p:nvPr/>
        </p:nvSpPr>
        <p:spPr>
          <a:xfrm>
            <a:off x="1136072" y="4909675"/>
            <a:ext cx="729936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Candidats 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dirty="0"/>
              <a:t>Angélique Renaul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16/11/2019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4270451318"/>
              </p:ext>
            </p:extLst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331087" y="3429000"/>
            <a:ext cx="640218" cy="578445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4106812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id="{7BC3924E-3BCE-4DF0-8D1B-276A19AB76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8943" y="2102053"/>
            <a:ext cx="2396218" cy="3412796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Quelques rendez-vous 2019-2020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6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4AEC6C5-C071-40A9-BF4B-D04420A5BA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1192" y="2842278"/>
            <a:ext cx="2816306" cy="193160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B2E1B673-1E74-4586-A62C-9BC7FA7290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659" y="2149309"/>
            <a:ext cx="2324842" cy="3117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8941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 2 Tournois interne</a:t>
            </a:r>
          </a:p>
          <a:p>
            <a:pPr indent="0">
              <a:buNone/>
            </a:pPr>
            <a:endParaRPr lang="fr-FR" dirty="0"/>
          </a:p>
          <a:p>
            <a:r>
              <a:rPr lang="fr-FR" dirty="0"/>
              <a:t>Les journées des IC vétérans</a:t>
            </a:r>
          </a:p>
          <a:p>
            <a:endParaRPr lang="fr-FR" dirty="0"/>
          </a:p>
          <a:p>
            <a:r>
              <a:rPr lang="fr-FR" dirty="0"/>
              <a:t>Les Rencontres à domicile des IC Séniors</a:t>
            </a:r>
          </a:p>
          <a:p>
            <a:endParaRPr lang="fr-FR" dirty="0"/>
          </a:p>
          <a:p>
            <a:r>
              <a:rPr lang="fr-FR" dirty="0"/>
              <a:t>Les rencontres Jeunes</a:t>
            </a:r>
          </a:p>
          <a:p>
            <a:endParaRPr lang="fr-FR" dirty="0"/>
          </a:p>
          <a:p>
            <a:r>
              <a:rPr lang="fr-FR" dirty="0"/>
              <a:t>Les stages Jeunes</a:t>
            </a:r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ans oublier …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7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9B77A4B-6A47-4F53-942C-ADCDBBCC0BAB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16/11/2019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/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158807" y="3946265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220717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DEPENSES 2018 - 2019  :     84 760 €     </a:t>
            </a:r>
            <a:br>
              <a:rPr lang="fr-FR" dirty="0"/>
            </a:br>
            <a:r>
              <a:rPr lang="fr-FR" dirty="0"/>
              <a:t>Budget : </a:t>
            </a:r>
            <a:r>
              <a:rPr lang="fr-FR" dirty="0">
                <a:solidFill>
                  <a:srgbClr val="FF0000"/>
                </a:solidFill>
              </a:rPr>
              <a:t>82 390 €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2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F1A984A-2885-485C-9CB4-0B73FDDBB761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11" name="Graphique 10">
            <a:extLst>
              <a:ext uri="{FF2B5EF4-FFF2-40B4-BE49-F238E27FC236}">
                <a16:creationId xmlns:a16="http://schemas.microsoft.com/office/drawing/2014/main" id="{447195FC-F50F-43BC-9001-8428C83EF7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3454551"/>
              </p:ext>
            </p:extLst>
          </p:nvPr>
        </p:nvGraphicFramePr>
        <p:xfrm>
          <a:off x="713636" y="1330036"/>
          <a:ext cx="7800972" cy="43344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E9A6719-1D40-4D02-949D-06CEFB0B8B61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>
          <a:xfrm>
            <a:off x="1071601" y="6572272"/>
            <a:ext cx="5400675" cy="217488"/>
          </a:xfrm>
        </p:spPr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sp>
        <p:nvSpPr>
          <p:cNvPr id="7" name="Rectangle 6"/>
          <p:cNvSpPr/>
          <p:nvPr/>
        </p:nvSpPr>
        <p:spPr>
          <a:xfrm>
            <a:off x="214282" y="4480888"/>
            <a:ext cx="5429288" cy="1714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7884" y="285728"/>
            <a:ext cx="2889301" cy="5916664"/>
          </a:xfrm>
          <a:prstGeom prst="rect">
            <a:avLst/>
          </a:prstGeom>
        </p:spPr>
      </p:pic>
      <p:sp>
        <p:nvSpPr>
          <p:cNvPr id="9" name="Espace réservé de la date 3"/>
          <p:cNvSpPr txBox="1">
            <a:spLocks/>
          </p:cNvSpPr>
          <p:nvPr/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-414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18B2E"/>
              </a:buClr>
              <a:buSzPct val="110000"/>
              <a:buFontTx/>
              <a:buBlip>
                <a:blip r:embed="rId3"/>
              </a:buBlip>
              <a:tabLst/>
              <a:defRPr/>
            </a:pP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63436"/>
              </a:solidFill>
              <a:effectLst/>
              <a:uLnTx/>
              <a:uFillTx/>
              <a:latin typeface="Arial" pitchFamily="34" charset="0"/>
              <a:ea typeface="ＭＳ Ｐゴシック" charset="0"/>
              <a:cs typeface="Arial" pitchFamily="34" charset="0"/>
            </a:endParaRPr>
          </a:p>
        </p:txBody>
      </p:sp>
      <p:sp>
        <p:nvSpPr>
          <p:cNvPr id="11" name="Espace réservé du numéro de diapositive 5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2FD78F-3EEB-4788-82BB-31A32855A147}" type="slidenum">
              <a:rPr kumimoji="0" lang="fr-FR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ＭＳ Ｐゴシック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2" name="Espace réservé du contenu 3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1607"/>
            <a:ext cx="5000628" cy="3857652"/>
          </a:xfrm>
          <a:prstGeom prst="rect">
            <a:avLst/>
          </a:prstGeom>
        </p:spPr>
      </p:pic>
      <p:sp>
        <p:nvSpPr>
          <p:cNvPr id="13" name="ZoneTexte 12"/>
          <p:cNvSpPr txBox="1"/>
          <p:nvPr/>
        </p:nvSpPr>
        <p:spPr>
          <a:xfrm>
            <a:off x="3857620" y="2214554"/>
            <a:ext cx="21431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600" dirty="0">
                <a:solidFill>
                  <a:schemeClr val="tx2"/>
                </a:solidFill>
              </a:rPr>
              <a:t>+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214281" y="4567148"/>
            <a:ext cx="554816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tx2"/>
                </a:solidFill>
              </a:rPr>
              <a:t>Assemblée Générale</a:t>
            </a:r>
          </a:p>
          <a:p>
            <a:pPr algn="ctr"/>
            <a:r>
              <a:rPr lang="fr-FR" sz="1600" dirty="0"/>
              <a:t>Le rendez-vous annuel important pour valider ce qui a été fait et construire l’avenir.</a:t>
            </a:r>
          </a:p>
          <a:p>
            <a:pPr algn="ctr"/>
            <a:r>
              <a:rPr lang="fr-FR" sz="1600" dirty="0"/>
              <a:t> Un moment d’échanges et de partages.</a:t>
            </a:r>
            <a:endParaRPr lang="fr-FR" dirty="0"/>
          </a:p>
          <a:p>
            <a:pPr algn="ctr"/>
            <a:r>
              <a:rPr lang="fr-FR" sz="1800" b="1" dirty="0">
                <a:solidFill>
                  <a:srgbClr val="FF0000"/>
                </a:solidFill>
              </a:rPr>
              <a:t>Merci aux personnes présentes ou représentées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3EE9FCBC-6E93-4285-86C3-3F73BAC5725F}"/>
              </a:ext>
            </a:extLst>
          </p:cNvPr>
          <p:cNvSpPr txBox="1"/>
          <p:nvPr/>
        </p:nvSpPr>
        <p:spPr>
          <a:xfrm>
            <a:off x="1943138" y="6328095"/>
            <a:ext cx="3657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</a:rPr>
              <a:t>WWW.lherblaisienne.fr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recettes 2018 - 2019  :     86 745 €     </a:t>
            </a:r>
            <a:br>
              <a:rPr lang="fr-FR" dirty="0"/>
            </a:br>
            <a:r>
              <a:rPr lang="fr-FR" dirty="0"/>
              <a:t>Budget : </a:t>
            </a:r>
            <a:r>
              <a:rPr lang="fr-FR" dirty="0">
                <a:solidFill>
                  <a:srgbClr val="FF0000"/>
                </a:solidFill>
              </a:rPr>
              <a:t>82 390 €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0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F1A984A-2885-485C-9CB4-0B73FDDBB761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9" name="Graphique 8">
            <a:extLst>
              <a:ext uri="{FF2B5EF4-FFF2-40B4-BE49-F238E27FC236}">
                <a16:creationId xmlns:a16="http://schemas.microsoft.com/office/drawing/2014/main" id="{16924B9A-9FB9-4B23-B7D8-15BC8003CB4E}"/>
              </a:ext>
            </a:extLst>
          </p:cNvPr>
          <p:cNvGraphicFramePr>
            <a:graphicFrameLocks/>
          </p:cNvGraphicFramePr>
          <p:nvPr/>
        </p:nvGraphicFramePr>
        <p:xfrm>
          <a:off x="736270" y="1650266"/>
          <a:ext cx="7137069" cy="42280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237292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sz="2800" dirty="0"/>
              <a:t>QUESTIONS SUR LE BUDGET  </a:t>
            </a:r>
          </a:p>
          <a:p>
            <a:pPr>
              <a:buNone/>
            </a:pPr>
            <a:r>
              <a:rPr lang="fr-FR" sz="2800" dirty="0"/>
              <a:t>                2019 - 2020?</a:t>
            </a:r>
          </a:p>
          <a:p>
            <a:endParaRPr lang="fr-FR" sz="2800" dirty="0"/>
          </a:p>
          <a:p>
            <a:endParaRPr lang="fr-FR" sz="2800" dirty="0"/>
          </a:p>
          <a:p>
            <a:r>
              <a:rPr lang="fr-FR" sz="2800" dirty="0"/>
              <a:t>APPROBATION DU BUDGET 2019 – 2020 ?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1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048A4FA-17E7-4243-BE81-3F75E5F7A467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  <a:endParaRPr lang="fr-FR" dirty="0"/>
          </a:p>
        </p:txBody>
      </p:sp>
      <p:pic>
        <p:nvPicPr>
          <p:cNvPr id="7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595" y="-224286"/>
            <a:ext cx="1700405" cy="240784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16/11/2019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4284817558"/>
              </p:ext>
            </p:extLst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1027113" y="4675135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152946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Un grand merci aux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3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1FB85A7-9051-4777-BF6A-ACCA7C7B2C30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7" name="Diagramme 6"/>
          <p:cNvGraphicFramePr/>
          <p:nvPr>
            <p:extLst>
              <p:ext uri="{D42A27DB-BD31-4B8C-83A1-F6EECF244321}">
                <p14:modId xmlns:p14="http://schemas.microsoft.com/office/powerpoint/2010/main" val="3016870027"/>
              </p:ext>
            </p:extLst>
          </p:nvPr>
        </p:nvGraphicFramePr>
        <p:xfrm>
          <a:off x="1523999" y="267419"/>
          <a:ext cx="7093790" cy="51935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Sourire 7"/>
          <p:cNvSpPr/>
          <p:nvPr/>
        </p:nvSpPr>
        <p:spPr>
          <a:xfrm>
            <a:off x="1216325" y="5710686"/>
            <a:ext cx="914400" cy="914400"/>
          </a:xfrm>
          <a:prstGeom prst="smileyFac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ZoneTexte 8"/>
          <p:cNvSpPr txBox="1"/>
          <p:nvPr/>
        </p:nvSpPr>
        <p:spPr>
          <a:xfrm>
            <a:off x="2648310" y="5822831"/>
            <a:ext cx="4641011" cy="892552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tx1"/>
                </a:solidFill>
              </a:rPr>
              <a:t>BONNE SAISON 2019 -2020</a:t>
            </a:r>
          </a:p>
          <a:p>
            <a:endParaRPr lang="fr-FR" dirty="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philippe\AppData\Local\Microsoft\Windows\INetCache\Content.Outlook\UET5XKC5\Nouveau logo GAM-page-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42838" y="4296205"/>
            <a:ext cx="1967516" cy="2786082"/>
          </a:xfrm>
          <a:prstGeom prst="rect">
            <a:avLst/>
          </a:prstGeom>
          <a:noFill/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ERCI POUR VOTRE PARTICIPAT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34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2C1545-0C57-49E7-9CF3-9F1A1B40B520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Image 6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9257" y="242596"/>
            <a:ext cx="2889301" cy="5916664"/>
          </a:xfrm>
          <a:prstGeom prst="rect">
            <a:avLst/>
          </a:prstGeom>
        </p:spPr>
      </p:pic>
      <p:pic>
        <p:nvPicPr>
          <p:cNvPr id="8" name="Espace réservé du contenu 3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925" y="760184"/>
            <a:ext cx="5000628" cy="3857652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3857620" y="3508516"/>
            <a:ext cx="21431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600" dirty="0">
                <a:solidFill>
                  <a:schemeClr val="tx2"/>
                </a:solidFill>
              </a:rPr>
              <a:t>+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32603" y="180795"/>
            <a:ext cx="6419379" cy="558059"/>
          </a:xfrm>
        </p:spPr>
        <p:txBody>
          <a:bodyPr/>
          <a:lstStyle/>
          <a:p>
            <a:pPr>
              <a:defRPr/>
            </a:pPr>
            <a:endParaRPr lang="fr-FR" dirty="0">
              <a:ea typeface="+mj-ea"/>
            </a:endParaRPr>
          </a:p>
        </p:txBody>
      </p:sp>
      <p:sp>
        <p:nvSpPr>
          <p:cNvPr id="12292" name="Espace réservé de la date 4"/>
          <p:cNvSpPr>
            <a:spLocks noGrp="1"/>
          </p:cNvSpPr>
          <p:nvPr>
            <p:ph type="dt" sz="half" idx="12"/>
          </p:nvPr>
        </p:nvSpPr>
        <p:spPr bwMode="auto">
          <a:xfrm>
            <a:off x="179388" y="6524625"/>
            <a:ext cx="847725" cy="222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64A5824-8DEB-47E7-A6EE-135E0FEEF5F5}" type="datetime1">
              <a:rPr lang="fr-FR" sz="1000" smtClean="0">
                <a:solidFill>
                  <a:schemeClr val="bg1"/>
                </a:solidFill>
              </a:rPr>
              <a:pPr eaLnBrk="1" hangingPunct="1"/>
              <a:t>16/11/2019</a:t>
            </a:fld>
            <a:endParaRPr lang="fr-FR" sz="10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me 1"/>
          <p:cNvGraphicFramePr/>
          <p:nvPr>
            <p:extLst/>
          </p:nvPr>
        </p:nvGraphicFramePr>
        <p:xfrm>
          <a:off x="634482" y="1251914"/>
          <a:ext cx="8509518" cy="4881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12" name="Picture 4" descr="C:\Documents and Settings\M012627\Local Settings\Temporary Internet Files\Content.IE5\49YN89YN\MC900434810[1]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14" y="0"/>
            <a:ext cx="1079386" cy="107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>
          <a:xfrm>
            <a:off x="634482" y="5381970"/>
            <a:ext cx="709907" cy="75141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</p:spTree>
    <p:extLst>
      <p:ext uri="{BB962C8B-B14F-4D97-AF65-F5344CB8AC3E}">
        <p14:creationId xmlns:p14="http://schemas.microsoft.com/office/powerpoint/2010/main" val="55153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E748EFF4-458A-4C3B-A2BF-1F46125298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738" y="2528112"/>
            <a:ext cx="2737360" cy="785794"/>
          </a:xfrm>
        </p:spPr>
        <p:txBody>
          <a:bodyPr>
            <a:normAutofit fontScale="90000"/>
          </a:bodyPr>
          <a:lstStyle/>
          <a:p>
            <a:r>
              <a:rPr lang="fr-FR" dirty="0"/>
              <a:t>Extraits </a:t>
            </a:r>
            <a:r>
              <a:rPr lang="fr-FR" dirty="0" err="1"/>
              <a:t>HerBLAY</a:t>
            </a:r>
            <a:r>
              <a:rPr lang="fr-FR" dirty="0"/>
              <a:t> MAG N0 105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CE47DBF-0E01-488E-9AC6-2D1C8D738F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33914EB-29CE-4E55-8C35-097F0CF6CBE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48CBA5D2-3DE5-4109-83C5-CEA98510217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1E77C572-4EB6-4020-A86C-9CE7FD2A01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2905" y="103187"/>
            <a:ext cx="2737360" cy="6864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4358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philippe\AppData\Local\Microsoft\Windows\INetCache\Content.Outlook\UET5XKC5\Nouveau logo GAM-page-001.jp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18717" y="0"/>
            <a:ext cx="1513227" cy="2142790"/>
          </a:xfrm>
          <a:prstGeom prst="rect">
            <a:avLst/>
          </a:prstGeom>
          <a:noFill/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542185" y="1214156"/>
            <a:ext cx="8424936" cy="3802744"/>
          </a:xfrm>
        </p:spPr>
        <p:txBody>
          <a:bodyPr/>
          <a:lstStyle/>
          <a:p>
            <a:r>
              <a:rPr lang="fr-FR" dirty="0"/>
              <a:t>Rappel des objectifs 2017- 2018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248658" y="260648"/>
            <a:ext cx="7800972" cy="785794"/>
          </a:xfrm>
        </p:spPr>
        <p:txBody>
          <a:bodyPr>
            <a:normAutofit fontScale="90000"/>
          </a:bodyPr>
          <a:lstStyle/>
          <a:p>
            <a:r>
              <a:rPr lang="fr-FR" sz="2400" dirty="0">
                <a:solidFill>
                  <a:schemeClr val="accent1"/>
                </a:solidFill>
              </a:rPr>
              <a:t>Projet « SPORTS-AMBITIONS 2016-2020 »</a:t>
            </a:r>
            <a:br>
              <a:rPr lang="fr-FR" sz="2400" dirty="0">
                <a:solidFill>
                  <a:schemeClr val="accent1"/>
                </a:solidFill>
              </a:rPr>
            </a:br>
            <a:r>
              <a:rPr lang="fr-FR" i="1" dirty="0">
                <a:solidFill>
                  <a:srgbClr val="FF0000"/>
                </a:solidFill>
              </a:rPr>
              <a:t>« DEVENEZ ACTEURS DE VOTRE ASSOCIATION »</a:t>
            </a:r>
            <a:br>
              <a:rPr lang="fr-FR" i="1" dirty="0">
                <a:solidFill>
                  <a:srgbClr val="FF0000"/>
                </a:solidFill>
              </a:rPr>
            </a:b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B1D59F7-A076-4176-AD64-2C9CA4BEF113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/>
              <a:t>Assemblée Générale Ordinaire - 16 11 2017</a:t>
            </a:r>
          </a:p>
        </p:txBody>
      </p:sp>
      <p:graphicFrame>
        <p:nvGraphicFramePr>
          <p:cNvPr id="11" name="Diagramme 10"/>
          <p:cNvGraphicFramePr/>
          <p:nvPr>
            <p:extLst>
              <p:ext uri="{D42A27DB-BD31-4B8C-83A1-F6EECF244321}">
                <p14:modId xmlns:p14="http://schemas.microsoft.com/office/powerpoint/2010/main" val="2059039236"/>
              </p:ext>
            </p:extLst>
          </p:nvPr>
        </p:nvGraphicFramePr>
        <p:xfrm>
          <a:off x="224287" y="1396999"/>
          <a:ext cx="8169216" cy="51418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CA352596-BC24-45A5-95DA-97D5F039CB37}"/>
              </a:ext>
            </a:extLst>
          </p:cNvPr>
          <p:cNvCxnSpPr>
            <a:cxnSpLocks/>
          </p:cNvCxnSpPr>
          <p:nvPr/>
        </p:nvCxnSpPr>
        <p:spPr>
          <a:xfrm flipV="1">
            <a:off x="3232686" y="4337915"/>
            <a:ext cx="2375065" cy="1140033"/>
          </a:xfrm>
          <a:prstGeom prst="line">
            <a:avLst/>
          </a:prstGeom>
          <a:ln w="6032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10" name="Graphique 9"/>
          <p:cNvGraphicFramePr/>
          <p:nvPr>
            <p:extLst>
              <p:ext uri="{D42A27DB-BD31-4B8C-83A1-F6EECF244321}">
                <p14:modId xmlns:p14="http://schemas.microsoft.com/office/powerpoint/2010/main" val="1573858968"/>
              </p:ext>
            </p:extLst>
          </p:nvPr>
        </p:nvGraphicFramePr>
        <p:xfrm>
          <a:off x="689114" y="503584"/>
          <a:ext cx="7673008" cy="5539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nalyse plus fine de l’évolution des adhérents du BADMINT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7664278"/>
              </p:ext>
            </p:extLst>
          </p:nvPr>
        </p:nvGraphicFramePr>
        <p:xfrm>
          <a:off x="715990" y="1138690"/>
          <a:ext cx="7489860" cy="50278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979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979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79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979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97972">
                  <a:extLst>
                    <a:ext uri="{9D8B030D-6E8A-4147-A177-3AD203B41FA5}">
                      <a16:colId xmlns:a16="http://schemas.microsoft.com/office/drawing/2014/main" val="1878526387"/>
                    </a:ext>
                  </a:extLst>
                </a:gridCol>
              </a:tblGrid>
              <a:tr h="524143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015-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016-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2017-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dirty="0"/>
                        <a:t>2018-2019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joueu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/>
                        <a:t>205 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/>
                        <a:t>241 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/>
                        <a:t>208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âge moy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30.3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0.3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0,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homm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151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67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3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femm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54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4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8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compétiteu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8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91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loisi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125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5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2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4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Classements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fr-FR" dirty="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 dirty="0"/>
                        <a:t>Nation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Région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Départ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1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Promo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77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8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6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3265">
                <a:tc>
                  <a:txBody>
                    <a:bodyPr/>
                    <a:lstStyle/>
                    <a:p>
                      <a:r>
                        <a:rPr lang="fr-FR"/>
                        <a:t>N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4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1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12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424980" y="1192033"/>
            <a:ext cx="8424936" cy="5005489"/>
          </a:xfrm>
        </p:spPr>
        <p:txBody>
          <a:bodyPr/>
          <a:lstStyle/>
          <a:p>
            <a:pPr>
              <a:buNone/>
            </a:pPr>
            <a:r>
              <a:rPr lang="fr-FR" dirty="0"/>
              <a:t>2016-2017</a:t>
            </a:r>
          </a:p>
          <a:p>
            <a:pPr>
              <a:buNone/>
            </a:pPr>
            <a:endParaRPr lang="fr-FR" dirty="0"/>
          </a:p>
          <a:p>
            <a:pPr>
              <a:buNone/>
            </a:pPr>
            <a:endParaRPr lang="fr-FR" dirty="0"/>
          </a:p>
          <a:p>
            <a:pPr>
              <a:buNone/>
            </a:pPr>
            <a:endParaRPr lang="fr-FR" dirty="0"/>
          </a:p>
          <a:p>
            <a:pPr>
              <a:buNone/>
            </a:pPr>
            <a:endParaRPr lang="fr-FR" dirty="0"/>
          </a:p>
          <a:p>
            <a:pPr>
              <a:buNone/>
            </a:pPr>
            <a:endParaRPr lang="fr-FR" dirty="0"/>
          </a:p>
          <a:p>
            <a:pPr>
              <a:buNone/>
            </a:pPr>
            <a:r>
              <a:rPr lang="fr-FR" dirty="0"/>
              <a:t>2017-2018</a:t>
            </a:r>
          </a:p>
          <a:p>
            <a:pPr>
              <a:buNone/>
            </a:pPr>
            <a:endParaRPr lang="fr-FR" dirty="0"/>
          </a:p>
          <a:p>
            <a:pPr>
              <a:buNone/>
            </a:pPr>
            <a:endParaRPr lang="fr-FR" dirty="0"/>
          </a:p>
          <a:p>
            <a:pPr>
              <a:buNone/>
            </a:pPr>
            <a:endParaRPr lang="fr-FR" dirty="0"/>
          </a:p>
          <a:p>
            <a:pPr>
              <a:buNone/>
            </a:pPr>
            <a:endParaRPr lang="fr-FR" dirty="0"/>
          </a:p>
          <a:p>
            <a:pPr>
              <a:buNone/>
            </a:pPr>
            <a:endParaRPr lang="fr-FR" dirty="0"/>
          </a:p>
          <a:p>
            <a:pPr>
              <a:buNone/>
            </a:pPr>
            <a:r>
              <a:rPr lang="fr-FR" dirty="0"/>
              <a:t>2018-2019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nalyse plus fine de l’évolution des adhérents du BADMINT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99333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10371" y="1831629"/>
            <a:ext cx="238125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9334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952750" y="1524852"/>
            <a:ext cx="6191250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162" y="3694778"/>
            <a:ext cx="2381250" cy="952500"/>
          </a:xfrm>
          <a:prstGeom prst="rect">
            <a:avLst/>
          </a:prstGeom>
        </p:spPr>
      </p:pic>
      <p:pic>
        <p:nvPicPr>
          <p:cNvPr id="57346" name="Picture 2" descr="http://chart.apis.google.com/chart?cht=bvs&amp;chs=650x130&amp;chds=0,14&amp;chbh=5,1&amp;chco=FF007F,0000FF&amp;chdl=Femme|Homme&amp;chxt=x,y&amp;chxr=0,0,90,5|1,0,13,5&amp;chd=t:0,0,0,0,0,0,0,1,1,3,5,4,3,1,0,5,4,2,2,0,0,1,0,2,0,2,2,2,2,1,1,2,1,0,0,2,1,2,1,1,0,0,1,1,0,0,4,3,1,0,4,3,0,0,1,0,0,1,0,0,0,0,0,0,0,0,0,0,0,0,0,0,0,0,0,0,0,0,0,0,0,0,0,0,0,0,0,0,0,0|0,0,0,0,0,0,0,0,1,9,1,4,2,2,9,7,9,3,1,1,0,1,2,0,6,2,1,5,1,2,1,2,2,4,7,0,2,1,3,4,3,2,1,2,2,0,5,3,8,1,2,2,1,0,1,0,1,0,1,0,2,2,0,0,0,0,0,0,0,0,0,1,0,0,0,0,0,0,0,0,0,0,0,0,0,0,0,0,0,0&amp;chtt=Pyramide%20des%20age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750" y="3458112"/>
            <a:ext cx="6191250" cy="123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4C6AEF6F-FA48-47D9-8E9E-15706337A8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8656" y="5522756"/>
            <a:ext cx="2457793" cy="838317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D3898C6C-CEB0-4F16-944D-C673CB0330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23360" y="5109976"/>
            <a:ext cx="5841165" cy="1303171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A21D95D1-E8FA-4BEA-92C9-BF5E7B91EC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1211" y="2002042"/>
            <a:ext cx="4944165" cy="4296375"/>
          </a:xfrm>
          <a:prstGeom prst="rect">
            <a:avLst/>
          </a:prstGeom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fr-FR" dirty="0"/>
              <a:t>Une PRIORITE SUR LES JEUNES :</a:t>
            </a:r>
            <a:br>
              <a:rPr lang="fr-FR" dirty="0"/>
            </a:br>
            <a:r>
              <a:rPr lang="fr-FR" dirty="0"/>
              <a:t> </a:t>
            </a:r>
            <a:r>
              <a:rPr lang="fr-FR" dirty="0">
                <a:solidFill>
                  <a:srgbClr val="FF0000"/>
                </a:solidFill>
                <a:latin typeface="Comic Sans MS" pitchFamily="66" charset="0"/>
              </a:rPr>
              <a:t>Nous avons confirmé la 3</a:t>
            </a:r>
            <a:r>
              <a:rPr lang="fr-FR" baseline="30000" dirty="0">
                <a:solidFill>
                  <a:srgbClr val="FF0000"/>
                </a:solidFill>
                <a:latin typeface="Comic Sans MS" pitchFamily="66" charset="0"/>
              </a:rPr>
              <a:t>ème</a:t>
            </a:r>
            <a:r>
              <a:rPr lang="fr-FR" dirty="0">
                <a:solidFill>
                  <a:srgbClr val="FF0000"/>
                </a:solidFill>
                <a:latin typeface="Comic Sans MS" pitchFamily="66" charset="0"/>
              </a:rPr>
              <a:t> étoile dans la Labellisation 2019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F3963A-43DD-EB43-A4D9-AE3239085684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48CAAC4-81C2-42EB-B84E-D8968D8DDECD}" type="datetime1">
              <a:rPr lang="fr-FR" smtClean="0"/>
              <a:pPr/>
              <a:t>16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Assemblée Générale Ordinaire - 16 11 2017</a:t>
            </a:r>
          </a:p>
        </p:txBody>
      </p:sp>
      <p:pic>
        <p:nvPicPr>
          <p:cNvPr id="7" name="Espace réservé du contenu 6" descr="EFB_3Etoiles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28596" y="1495677"/>
            <a:ext cx="3539555" cy="4719406"/>
          </a:xfrm>
        </p:spPr>
      </p:pic>
      <p:sp>
        <p:nvSpPr>
          <p:cNvPr id="8" name="ZoneTexte 7"/>
          <p:cNvSpPr txBox="1"/>
          <p:nvPr/>
        </p:nvSpPr>
        <p:spPr>
          <a:xfrm>
            <a:off x="590103" y="3845213"/>
            <a:ext cx="308475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</a:rPr>
              <a:t>« </a:t>
            </a:r>
            <a:r>
              <a:rPr lang="fr-FR" sz="2000" b="1" i="1" dirty="0">
                <a:solidFill>
                  <a:schemeClr val="tx2"/>
                </a:solidFill>
              </a:rPr>
              <a:t>Club qui structure son école de jeunes en s’appuyant prioritairement sur le Dispositif Jeunes ».</a:t>
            </a:r>
          </a:p>
          <a:p>
            <a:pPr algn="ctr"/>
            <a:endParaRPr lang="fr-FR" sz="2000" b="1" i="1" dirty="0">
              <a:solidFill>
                <a:schemeClr val="tx2"/>
              </a:solidFill>
            </a:endParaRPr>
          </a:p>
          <a:p>
            <a:pPr algn="ctr"/>
            <a:r>
              <a:rPr lang="fr-FR" sz="2000" b="1" i="1" dirty="0">
                <a:solidFill>
                  <a:schemeClr val="tx2"/>
                </a:solidFill>
              </a:rPr>
              <a:t>4 </a:t>
            </a:r>
            <a:r>
              <a:rPr lang="fr-FR" sz="2000" b="1" i="1" dirty="0" err="1">
                <a:solidFill>
                  <a:schemeClr val="tx2"/>
                </a:solidFill>
              </a:rPr>
              <a:t>ème</a:t>
            </a:r>
            <a:r>
              <a:rPr lang="fr-FR" sz="2000" b="1" i="1" dirty="0">
                <a:solidFill>
                  <a:schemeClr val="tx2"/>
                </a:solidFill>
              </a:rPr>
              <a:t> club Jeunes du Val d’Oise</a:t>
            </a:r>
          </a:p>
        </p:txBody>
      </p:sp>
      <p:pic>
        <p:nvPicPr>
          <p:cNvPr id="9" name="Espace réservé du contenu 6" descr="EFB_3Etoiles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7886" y="1569897"/>
            <a:ext cx="1468731" cy="1958308"/>
          </a:xfrm>
          <a:prstGeom prst="rect">
            <a:avLst/>
          </a:prstGeom>
        </p:spPr>
      </p:pic>
      <p:sp>
        <p:nvSpPr>
          <p:cNvPr id="13" name="ZoneTexte 12"/>
          <p:cNvSpPr txBox="1"/>
          <p:nvPr/>
        </p:nvSpPr>
        <p:spPr>
          <a:xfrm>
            <a:off x="5496485" y="1286661"/>
            <a:ext cx="30847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highlight>
                  <a:srgbClr val="FFFF00"/>
                </a:highlight>
              </a:rPr>
              <a:t>1004 clubs  en France</a:t>
            </a:r>
          </a:p>
          <a:p>
            <a:pPr algn="ctr"/>
            <a:r>
              <a:rPr lang="fr-FR" sz="2000" b="1" dirty="0">
                <a:solidFill>
                  <a:schemeClr val="tx2"/>
                </a:solidFill>
                <a:highlight>
                  <a:srgbClr val="FFFF00"/>
                </a:highlight>
              </a:rPr>
              <a:t>14 clubs Val d’Oise</a:t>
            </a:r>
            <a:endParaRPr lang="fr-FR" sz="2000" b="1" i="1" dirty="0">
              <a:solidFill>
                <a:schemeClr val="tx2"/>
              </a:solidFill>
              <a:highlight>
                <a:srgbClr val="FFFF00"/>
              </a:highlight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YUFkyrnkmabmPEvVCo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ZufsihhkypKvYeR6vZ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4qxR.hlUmMrttMgIm3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wE8b7NzEaP_71XKqK_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GL6tTUYUKK7KuID6Ew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Louqht3EmE7jitNuFp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Sestjr_EaC.i9ywwGd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7Dj.XxZU6npJypcbOR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MrO8dNv0yw3ro5g2_5BA"/>
</p:tagLst>
</file>

<file path=ppt/theme/theme1.xml><?xml version="1.0" encoding="utf-8"?>
<a:theme xmlns:a="http://schemas.openxmlformats.org/drawingml/2006/main" name="Modèle Présentation Klési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7_Thème Office">
  <a:themeElements>
    <a:clrScheme name="7_Thème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7_Thème Offic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7_Thèm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82F832B840AE43B7BB6E8DE33DAEE3" ma:contentTypeVersion="11" ma:contentTypeDescription="Crée un document." ma:contentTypeScope="" ma:versionID="fcd3cdaa57daad9d5b71ecf435cc5f0e">
  <xsd:schema xmlns:xsd="http://www.w3.org/2001/XMLSchema" xmlns:xs="http://www.w3.org/2001/XMLSchema" xmlns:p="http://schemas.microsoft.com/office/2006/metadata/properties" xmlns:ns3="ab4ae582-4b1f-402f-b3e7-e10af49524d1" xmlns:ns4="e673adbb-9038-43db-989b-c53fc631368e" targetNamespace="http://schemas.microsoft.com/office/2006/metadata/properties" ma:root="true" ma:fieldsID="b57daeb3784fad586178d60ee7139f5c" ns3:_="" ns4:_="">
    <xsd:import namespace="ab4ae582-4b1f-402f-b3e7-e10af49524d1"/>
    <xsd:import namespace="e673adbb-9038-43db-989b-c53fc631368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4ae582-4b1f-402f-b3e7-e10af49524d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73adbb-9038-43db-989b-c53fc63136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683E54-C0B5-484D-90C1-82FC6811A7A4}">
  <ds:schemaRefs>
    <ds:schemaRef ds:uri="http://schemas.microsoft.com/office/2006/metadata/properties"/>
    <ds:schemaRef ds:uri="e673adbb-9038-43db-989b-c53fc631368e"/>
    <ds:schemaRef ds:uri="http://www.w3.org/XML/1998/namespace"/>
    <ds:schemaRef ds:uri="http://schemas.microsoft.com/office/2006/documentManagement/types"/>
    <ds:schemaRef ds:uri="http://purl.org/dc/dcmitype/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ab4ae582-4b1f-402f-b3e7-e10af49524d1"/>
  </ds:schemaRefs>
</ds:datastoreItem>
</file>

<file path=customXml/itemProps2.xml><?xml version="1.0" encoding="utf-8"?>
<ds:datastoreItem xmlns:ds="http://schemas.openxmlformats.org/officeDocument/2006/customXml" ds:itemID="{E9C37155-2BFD-457C-A1AE-FB3FAA9BF9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4ae582-4b1f-402f-b3e7-e10af49524d1"/>
    <ds:schemaRef ds:uri="e673adbb-9038-43db-989b-c53fc63136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08DF1FC-11B4-4223-AEDD-81910AD4648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dèle Présentation Klésia.potx</Template>
  <TotalTime>27562</TotalTime>
  <Words>1115</Words>
  <Application>Microsoft Office PowerPoint</Application>
  <PresentationFormat>Affichage à l'écran (4:3)</PresentationFormat>
  <Paragraphs>416</Paragraphs>
  <Slides>35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5</vt:i4>
      </vt:variant>
    </vt:vector>
  </HeadingPairs>
  <TitlesOfParts>
    <vt:vector size="44" baseType="lpstr">
      <vt:lpstr>Arial</vt:lpstr>
      <vt:lpstr>Calibri</vt:lpstr>
      <vt:lpstr>Comic Sans MS</vt:lpstr>
      <vt:lpstr>Courier New</vt:lpstr>
      <vt:lpstr>Lucida Grande</vt:lpstr>
      <vt:lpstr>Wingdings</vt:lpstr>
      <vt:lpstr>Modèle Présentation Klésia</vt:lpstr>
      <vt:lpstr>7_Thème Office</vt:lpstr>
      <vt:lpstr>think-cell Slide</vt:lpstr>
      <vt:lpstr>Assemblée  Générale Ordinaire </vt:lpstr>
      <vt:lpstr>Présentation PowerPoint</vt:lpstr>
      <vt:lpstr>Présentation PowerPoint</vt:lpstr>
      <vt:lpstr>Extraits HerBLAY MAG N0 105</vt:lpstr>
      <vt:lpstr>Projet « SPORTS-AMBITIONS 2016-2020 » « DEVENEZ ACTEURS DE VOTRE ASSOCIATION » </vt:lpstr>
      <vt:lpstr>Présentation PowerPoint</vt:lpstr>
      <vt:lpstr>Analyse plus fine de l’évolution des adhérents du BADMINTON</vt:lpstr>
      <vt:lpstr>Analyse plus fine de l’évolution des adhérents du BADMINTON</vt:lpstr>
      <vt:lpstr>Une PRIORITE SUR LES JEUNES :  Nous avons confirmé la 3ème étoile dans la Labellisation 2019</vt:lpstr>
      <vt:lpstr>gymnastique masculine 2018-2019</vt:lpstr>
      <vt:lpstr>RESULTATS 2018– 2019 de BADMINTON</vt:lpstr>
      <vt:lpstr>RESULTATS 2018– 2019 de BADMINTON</vt:lpstr>
      <vt:lpstr>Retour sur quelques EVENEMENTS</vt:lpstr>
      <vt:lpstr>SYNTHESE 2018 - 2019</vt:lpstr>
      <vt:lpstr>Présentation PowerPoint</vt:lpstr>
      <vt:lpstr>LES DEPENSES 2018 - 2019            Budget : 81 450 €  REALISEES : 84 760 €</vt:lpstr>
      <vt:lpstr>LES DEPENSES 2018 - 2019            Budget : 81 450 €  REALISEES : 84 760 €</vt:lpstr>
      <vt:lpstr>LES RECETTES 2016 -2017            Budget : 83 160 €  REALISEES : 81 336 €</vt:lpstr>
      <vt:lpstr>LES RECETTES 2018 - 2019            Budget : 83 160 €  REALISEES : 81 336 €</vt:lpstr>
      <vt:lpstr>LES RECETTES 2018 - 2019            Budget : 83 160 €  REALISEES : 81 336 €</vt:lpstr>
      <vt:lpstr>Rapport financier 2018 - 2019</vt:lpstr>
      <vt:lpstr>Présentation PowerPoint</vt:lpstr>
      <vt:lpstr>Les missions du Conseil d’Administratrion</vt:lpstr>
      <vt:lpstr>Situation des MANDATS</vt:lpstr>
      <vt:lpstr>Présentation PowerPoint</vt:lpstr>
      <vt:lpstr>Quelques rendez-vous 2019-2020</vt:lpstr>
      <vt:lpstr>Sans oublier …</vt:lpstr>
      <vt:lpstr>Présentation PowerPoint</vt:lpstr>
      <vt:lpstr>LES DEPENSES 2018 - 2019  :     84 760 €      Budget : 82 390 €</vt:lpstr>
      <vt:lpstr>LES recettes 2018 - 2019  :     86 745 €      Budget : 82 390 €</vt:lpstr>
      <vt:lpstr>Présentation PowerPoint</vt:lpstr>
      <vt:lpstr>Présentation PowerPoint</vt:lpstr>
      <vt:lpstr>Un grand merci aux </vt:lpstr>
      <vt:lpstr>MERCI POUR VOTRE PARTICIPATION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anbriand</dc:creator>
  <cp:lastModifiedBy>Philippe CERISIER</cp:lastModifiedBy>
  <cp:revision>553</cp:revision>
  <cp:lastPrinted>2018-11-30T17:05:14Z</cp:lastPrinted>
  <dcterms:created xsi:type="dcterms:W3CDTF">2012-06-28T08:43:56Z</dcterms:created>
  <dcterms:modified xsi:type="dcterms:W3CDTF">2019-11-17T12:5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82F832B840AE43B7BB6E8DE33DAEE3</vt:lpwstr>
  </property>
</Properties>
</file>